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.xml" ContentType="application/vnd.openxmlformats-officedocument.presentationml.notesSlide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trictFirstAndLastChars="0" saveSubsetFonts="1">
  <p:sldMasterIdLst>
    <p:sldMasterId id="2147483671" r:id="rId4"/>
    <p:sldMasterId id="2147483676" r:id="rId5"/>
  </p:sldMasterIdLst>
  <p:notesMasterIdLst>
    <p:notesMasterId r:id="rId10"/>
  </p:notesMasterIdLst>
  <p:handoutMasterIdLst>
    <p:handoutMasterId r:id="rId11"/>
  </p:handoutMasterIdLst>
  <p:sldIdLst>
    <p:sldId id="392" r:id="rId6"/>
    <p:sldId id="592" r:id="rId7"/>
    <p:sldId id="399" r:id="rId8"/>
    <p:sldId id="256" r:id="rId9"/>
  </p:sldIdLst>
  <p:sldSz cx="10439400" cy="7559675"/>
  <p:notesSz cx="6797675" cy="9926638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836" kern="1200">
        <a:solidFill>
          <a:schemeClr val="tx1"/>
        </a:solidFill>
        <a:latin typeface="Arial" charset="0"/>
        <a:ea typeface="+mn-ea"/>
        <a:cs typeface="+mn-cs"/>
      </a:defRPr>
    </a:lvl1pPr>
    <a:lvl2pPr marL="524683" algn="l" rtl="0" fontAlgn="base">
      <a:spcBef>
        <a:spcPct val="0"/>
      </a:spcBef>
      <a:spcAft>
        <a:spcPct val="0"/>
      </a:spcAft>
      <a:defRPr sz="1836" kern="1200">
        <a:solidFill>
          <a:schemeClr val="tx1"/>
        </a:solidFill>
        <a:latin typeface="Arial" charset="0"/>
        <a:ea typeface="+mn-ea"/>
        <a:cs typeface="+mn-cs"/>
      </a:defRPr>
    </a:lvl2pPr>
    <a:lvl3pPr marL="1049365" algn="l" rtl="0" fontAlgn="base">
      <a:spcBef>
        <a:spcPct val="0"/>
      </a:spcBef>
      <a:spcAft>
        <a:spcPct val="0"/>
      </a:spcAft>
      <a:defRPr sz="1836" kern="1200">
        <a:solidFill>
          <a:schemeClr val="tx1"/>
        </a:solidFill>
        <a:latin typeface="Arial" charset="0"/>
        <a:ea typeface="+mn-ea"/>
        <a:cs typeface="+mn-cs"/>
      </a:defRPr>
    </a:lvl3pPr>
    <a:lvl4pPr marL="1574048" algn="l" rtl="0" fontAlgn="base">
      <a:spcBef>
        <a:spcPct val="0"/>
      </a:spcBef>
      <a:spcAft>
        <a:spcPct val="0"/>
      </a:spcAft>
      <a:defRPr sz="1836" kern="1200">
        <a:solidFill>
          <a:schemeClr val="tx1"/>
        </a:solidFill>
        <a:latin typeface="Arial" charset="0"/>
        <a:ea typeface="+mn-ea"/>
        <a:cs typeface="+mn-cs"/>
      </a:defRPr>
    </a:lvl4pPr>
    <a:lvl5pPr marL="2098731" algn="l" rtl="0" fontAlgn="base">
      <a:spcBef>
        <a:spcPct val="0"/>
      </a:spcBef>
      <a:spcAft>
        <a:spcPct val="0"/>
      </a:spcAft>
      <a:defRPr sz="1836" kern="1200">
        <a:solidFill>
          <a:schemeClr val="tx1"/>
        </a:solidFill>
        <a:latin typeface="Arial" charset="0"/>
        <a:ea typeface="+mn-ea"/>
        <a:cs typeface="+mn-cs"/>
      </a:defRPr>
    </a:lvl5pPr>
    <a:lvl6pPr marL="2623414" algn="l" defTabSz="1049365" rtl="0" eaLnBrk="1" latinLnBrk="0" hangingPunct="1">
      <a:defRPr sz="1836" kern="1200">
        <a:solidFill>
          <a:schemeClr val="tx1"/>
        </a:solidFill>
        <a:latin typeface="Arial" charset="0"/>
        <a:ea typeface="+mn-ea"/>
        <a:cs typeface="+mn-cs"/>
      </a:defRPr>
    </a:lvl6pPr>
    <a:lvl7pPr marL="3148096" algn="l" defTabSz="1049365" rtl="0" eaLnBrk="1" latinLnBrk="0" hangingPunct="1">
      <a:defRPr sz="1836" kern="1200">
        <a:solidFill>
          <a:schemeClr val="tx1"/>
        </a:solidFill>
        <a:latin typeface="Arial" charset="0"/>
        <a:ea typeface="+mn-ea"/>
        <a:cs typeface="+mn-cs"/>
      </a:defRPr>
    </a:lvl7pPr>
    <a:lvl8pPr marL="3672779" algn="l" defTabSz="1049365" rtl="0" eaLnBrk="1" latinLnBrk="0" hangingPunct="1">
      <a:defRPr sz="1836" kern="1200">
        <a:solidFill>
          <a:schemeClr val="tx1"/>
        </a:solidFill>
        <a:latin typeface="Arial" charset="0"/>
        <a:ea typeface="+mn-ea"/>
        <a:cs typeface="+mn-cs"/>
      </a:defRPr>
    </a:lvl8pPr>
    <a:lvl9pPr marL="4197462" algn="l" defTabSz="1049365" rtl="0" eaLnBrk="1" latinLnBrk="0" hangingPunct="1">
      <a:defRPr sz="1836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BDE2B40-45E1-4188-9B38-9E736E1822EA}">
          <p14:sldIdLst>
            <p14:sldId id="392"/>
            <p14:sldId id="592"/>
            <p14:sldId id="399"/>
            <p14:sldId id="25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32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77" userDrawn="1">
          <p15:clr>
            <a:srgbClr val="A4A3A4"/>
          </p15:clr>
        </p15:guide>
        <p15:guide id="2" pos="2929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2" name="Author" initials="A" lastIdx="0" clrIdx="3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BABA"/>
    <a:srgbClr val="FFFBA7"/>
    <a:srgbClr val="C9FFC5"/>
    <a:srgbClr val="FFEAEA"/>
    <a:srgbClr val="006983"/>
    <a:srgbClr val="FEDC0E"/>
    <a:srgbClr val="FF5353"/>
    <a:srgbClr val="F7FFFF"/>
    <a:srgbClr val="00A5CC"/>
    <a:srgbClr val="EBF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4" autoAdjust="0"/>
    <p:restoredTop sz="96374" autoAdjust="0"/>
  </p:normalViewPr>
  <p:slideViewPr>
    <p:cSldViewPr snapToGrid="0" snapToObjects="1">
      <p:cViewPr varScale="1">
        <p:scale>
          <a:sx n="92" d="100"/>
          <a:sy n="92" d="100"/>
        </p:scale>
        <p:origin x="1230" y="90"/>
      </p:cViewPr>
      <p:guideLst>
        <p:guide orient="horz" pos="2381"/>
        <p:guide pos="32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4014" y="108"/>
      </p:cViewPr>
      <p:guideLst>
        <p:guide orient="horz" pos="4677"/>
        <p:guide pos="2929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77720730146331"/>
          <c:y val="0.23241637424607764"/>
          <c:w val="0.22227955493344811"/>
          <c:h val="0.63688060745068054"/>
        </c:manualLayout>
      </c:layout>
      <c:pi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gemeine Informationen</c:v>
                </c:pt>
              </c:strCache>
            </c:strRef>
          </c:tx>
          <c:spPr>
            <a:solidFill>
              <a:schemeClr val="accent4">
                <a:lumMod val="90000"/>
                <a:lumOff val="10000"/>
              </a:schemeClr>
            </a:solidFill>
            <a:ln w="19050">
              <a:noFill/>
            </a:ln>
            <a:effectLst/>
          </c:spPr>
          <c:dPt>
            <c:idx val="0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F74-4C72-AB97-3DBF512BDE6B}"/>
              </c:ext>
            </c:extLst>
          </c:dPt>
          <c:dPt>
            <c:idx val="1"/>
            <c:bubble3D val="0"/>
            <c:spPr>
              <a:solidFill>
                <a:schemeClr val="accent4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F74-4C72-AB97-3DBF512BDE6B}"/>
              </c:ext>
            </c:extLst>
          </c:dPt>
          <c:dPt>
            <c:idx val="2"/>
            <c:bubble3D val="0"/>
            <c:spPr>
              <a:solidFill>
                <a:schemeClr val="accent4">
                  <a:lumMod val="50000"/>
                  <a:lumOff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F74-4C72-AB97-3DBF512BDE6B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xxx</c:v>
                </c:pt>
                <c:pt idx="1">
                  <c:v>yyyy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26</c:v>
                </c:pt>
                <c:pt idx="1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74-4C72-AB97-3DBF512BDE6B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150865622423745"/>
          <c:y val="0.20598853701014341"/>
          <c:w val="0.37762997084845445"/>
          <c:h val="0.702785510314768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6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/>
        </a:fgClr>
        <a:bgClr>
          <a:schemeClr val="dk1">
            <a:lumMod val="10000"/>
            <a:lumOff val="90000"/>
          </a:schemeClr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508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50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7350" y="622300"/>
            <a:ext cx="6029325" cy="436721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33978"/>
            <a:ext cx="5792746" cy="1272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4" y="9540045"/>
            <a:ext cx="539269" cy="19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7" y="110740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1">
              <a:defRPr sz="800"/>
            </a:lvl1pPr>
          </a:lstStyle>
          <a:p>
            <a:pPr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027504" rtl="0" eaLnBrk="0" fontAlgn="base" hangingPunct="0">
      <a:spcBef>
        <a:spcPct val="0"/>
      </a:spcBef>
      <a:spcAft>
        <a:spcPct val="0"/>
      </a:spcAft>
      <a:buClr>
        <a:schemeClr val="tx2"/>
      </a:buClr>
      <a:defRPr sz="1836" kern="1200">
        <a:solidFill>
          <a:schemeClr val="tx1"/>
        </a:solidFill>
        <a:latin typeface="Arial" charset="0"/>
        <a:ea typeface="+mn-ea"/>
        <a:cs typeface="+mn-cs"/>
      </a:defRPr>
    </a:lvl1pPr>
    <a:lvl2pPr marL="134814" indent="-132993" algn="l" defTabSz="1027504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836" kern="1200">
        <a:solidFill>
          <a:schemeClr val="tx1"/>
        </a:solidFill>
        <a:latin typeface="Arial" charset="0"/>
        <a:ea typeface="+mn-ea"/>
        <a:cs typeface="+mn-cs"/>
      </a:defRPr>
    </a:lvl2pPr>
    <a:lvl3pPr marL="344324" indent="-207687" algn="l" defTabSz="1027504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836" kern="1200">
        <a:solidFill>
          <a:schemeClr val="tx1"/>
        </a:solidFill>
        <a:latin typeface="Arial" charset="0"/>
        <a:ea typeface="+mn-ea"/>
        <a:cs typeface="+mn-cs"/>
      </a:defRPr>
    </a:lvl3pPr>
    <a:lvl4pPr marL="490069" indent="-143924" algn="l" defTabSz="1027504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836" kern="1200">
        <a:solidFill>
          <a:schemeClr val="tx1"/>
        </a:solidFill>
        <a:latin typeface="Arial" charset="0"/>
        <a:ea typeface="+mn-ea"/>
        <a:cs typeface="+mn-cs"/>
      </a:defRPr>
    </a:lvl4pPr>
    <a:lvl5pPr marL="623061" indent="-131171" algn="l" defTabSz="1027504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836" kern="1200">
        <a:solidFill>
          <a:schemeClr val="tx1"/>
        </a:solidFill>
        <a:latin typeface="Arial" charset="0"/>
        <a:ea typeface="+mn-ea"/>
        <a:cs typeface="+mn-cs"/>
      </a:defRPr>
    </a:lvl5pPr>
    <a:lvl6pPr marL="2623414" algn="l" defTabSz="1049365" rtl="0" eaLnBrk="1" latinLnBrk="0" hangingPunct="1">
      <a:defRPr sz="1377" kern="1200">
        <a:solidFill>
          <a:schemeClr val="tx1"/>
        </a:solidFill>
        <a:latin typeface="+mn-lt"/>
        <a:ea typeface="+mn-ea"/>
        <a:cs typeface="+mn-cs"/>
      </a:defRPr>
    </a:lvl6pPr>
    <a:lvl7pPr marL="3148096" algn="l" defTabSz="1049365" rtl="0" eaLnBrk="1" latinLnBrk="0" hangingPunct="1">
      <a:defRPr sz="1377" kern="1200">
        <a:solidFill>
          <a:schemeClr val="tx1"/>
        </a:solidFill>
        <a:latin typeface="+mn-lt"/>
        <a:ea typeface="+mn-ea"/>
        <a:cs typeface="+mn-cs"/>
      </a:defRPr>
    </a:lvl7pPr>
    <a:lvl8pPr marL="3672779" algn="l" defTabSz="1049365" rtl="0" eaLnBrk="1" latinLnBrk="0" hangingPunct="1">
      <a:defRPr sz="1377" kern="1200">
        <a:solidFill>
          <a:schemeClr val="tx1"/>
        </a:solidFill>
        <a:latin typeface="+mn-lt"/>
        <a:ea typeface="+mn-ea"/>
        <a:cs typeface="+mn-cs"/>
      </a:defRPr>
    </a:lvl8pPr>
    <a:lvl9pPr marL="4197462" algn="l" defTabSz="1049365" rtl="0" eaLnBrk="1" latinLnBrk="0" hangingPunct="1">
      <a:defRPr sz="137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de-DE" sz="1200" smtClean="0">
                <a:solidFill>
                  <a:prstClr val="black"/>
                </a:solidFill>
              </a:rPr>
              <a:pPr eaLnBrk="1" hangingPunct="1"/>
              <a:t>1</a:t>
            </a:fld>
            <a:endParaRPr lang="de-DE" sz="1200" dirty="0">
              <a:solidFill>
                <a:prstClr val="black"/>
              </a:solidFill>
            </a:endParaRPr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7350" y="622300"/>
            <a:ext cx="6029325" cy="4367213"/>
          </a:xfrm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07466" y="5503311"/>
            <a:ext cx="5340187" cy="252762"/>
          </a:xfrm>
          <a:noFill/>
        </p:spPr>
        <p:txBody>
          <a:bodyPr/>
          <a:lstStyle/>
          <a:p>
            <a:pPr eaLnBrk="1" hangingPunct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3562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de-DE" sz="1200" smtClean="0">
                <a:solidFill>
                  <a:prstClr val="black"/>
                </a:solidFill>
              </a:rPr>
              <a:pPr eaLnBrk="1" hangingPunct="1"/>
              <a:t>2</a:t>
            </a:fld>
            <a:endParaRPr lang="de-DE" sz="1200" dirty="0">
              <a:solidFill>
                <a:prstClr val="black"/>
              </a:solidFill>
            </a:endParaRPr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7350" y="622300"/>
            <a:ext cx="6029325" cy="4367213"/>
          </a:xfrm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07466" y="5503311"/>
            <a:ext cx="5340187" cy="252762"/>
          </a:xfrm>
          <a:noFill/>
        </p:spPr>
        <p:txBody>
          <a:bodyPr/>
          <a:lstStyle/>
          <a:p>
            <a:pPr eaLnBrk="1" hangingPunct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80025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7350" y="622300"/>
            <a:ext cx="6029325" cy="4367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5456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D92A3-23FF-4B2E-B914-9CAB9F5A2638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97507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87169" y="5600677"/>
            <a:ext cx="6178929" cy="26729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D92A3-23FF-4B2E-B914-9CAB9F5A2638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5509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218094"/>
              </p:ext>
            </p:extLst>
          </p:nvPr>
        </p:nvGraphicFramePr>
        <p:xfrm>
          <a:off x="1850" y="1787"/>
          <a:ext cx="1849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0" y="1787"/>
                        <a:ext cx="1849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9977070" y="7176992"/>
            <a:ext cx="23083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9CE536A6-1648-4699-85FA-5923E43D6702}" type="slidenum">
              <a:rPr lang="de-DE" sz="900" baseline="0" smtClean="0">
                <a:solidFill>
                  <a:srgbClr val="808080"/>
                </a:solidFill>
                <a:latin typeface="+mn-lt"/>
              </a:rPr>
              <a:t>‹#›</a:t>
            </a:fld>
            <a:endParaRPr lang="de-DE" sz="9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9082292" y="57137"/>
            <a:ext cx="109820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007000" eaLnBrk="1"/>
            <a:endParaRPr lang="de-DE" sz="675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413" userDrawn="1">
          <p15:clr>
            <a:srgbClr val="F26B43"/>
          </p15:clr>
        </p15:guide>
        <p15:guide id="2" pos="86" userDrawn="1">
          <p15:clr>
            <a:srgbClr val="F26B43"/>
          </p15:clr>
        </p15:guide>
        <p15:guide id="3" orient="horz" pos="642" userDrawn="1">
          <p15:clr>
            <a:srgbClr val="F26B43"/>
          </p15:clr>
        </p15:guide>
        <p15:guide id="4" orient="horz" pos="4399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9082292" y="57137"/>
            <a:ext cx="109820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007000" eaLnBrk="1"/>
            <a:endParaRPr lang="de-DE" sz="675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634" userDrawn="1">
          <p15:clr>
            <a:srgbClr val="000000"/>
          </p15:clr>
        </p15:guide>
        <p15:guide id="2" orient="horz" pos="641" userDrawn="1">
          <p15:clr>
            <a:srgbClr val="000000"/>
          </p15:clr>
        </p15:guide>
        <p15:guide id="3" orient="horz" pos="4400" userDrawn="1">
          <p15:clr>
            <a:srgbClr val="000000"/>
          </p15:clr>
        </p15:guide>
        <p15:guide id="4" pos="84" userDrawn="1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8664582"/>
              </p:ext>
            </p:extLst>
          </p:nvPr>
        </p:nvGraphicFramePr>
        <p:xfrm>
          <a:off x="1850" y="1787"/>
          <a:ext cx="1849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0" y="1787"/>
                        <a:ext cx="1849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642359" y="1613298"/>
            <a:ext cx="7259418" cy="55385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59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642359" y="3508043"/>
            <a:ext cx="7259418" cy="24231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575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subtitle</a:t>
            </a:r>
            <a:r>
              <a:rPr lang="de-DE" noProof="0" dirty="0"/>
              <a:t>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642359" y="4028874"/>
            <a:ext cx="7259418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575" baseline="0" dirty="0" err="1">
                <a:solidFill>
                  <a:schemeClr val="accent6"/>
                </a:solidFill>
                <a:latin typeface="+mn-lt"/>
              </a:rPr>
              <a:t>Document</a:t>
            </a:r>
            <a:r>
              <a:rPr lang="de-DE" sz="1575" baseline="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de-DE" sz="1575" baseline="0" dirty="0" err="1">
                <a:solidFill>
                  <a:schemeClr val="accent6"/>
                </a:solidFill>
                <a:latin typeface="+mn-lt"/>
              </a:rPr>
              <a:t>type</a:t>
            </a:r>
            <a:r>
              <a:rPr lang="de-DE" sz="1575" baseline="0" dirty="0">
                <a:solidFill>
                  <a:schemeClr val="accent6"/>
                </a:solidFill>
                <a:latin typeface="+mn-lt"/>
              </a:rPr>
              <a:t>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9836523" y="41067"/>
            <a:ext cx="343973" cy="137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de-DE" sz="9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642359" y="7071516"/>
            <a:ext cx="4129021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905229" eaLnBrk="0" hangingPunct="0"/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CONFIDENTIAL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AND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PROPRIETARY</a:t>
            </a:r>
            <a:endParaRPr lang="de-DE" sz="900" baseline="0" dirty="0">
              <a:solidFill>
                <a:srgbClr val="FFFFFF"/>
              </a:solidFill>
              <a:latin typeface="+mn-lt"/>
            </a:endParaRPr>
          </a:p>
          <a:p>
            <a:pPr defTabSz="905229" eaLnBrk="0" hangingPunct="0"/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Any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use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of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this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material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without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specific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permission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of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McKinsey &amp; Company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is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strictly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prohibited</a:t>
            </a:r>
            <a:endParaRPr lang="de-DE" sz="9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04549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0" y="1800"/>
          <a:ext cx="1849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0" y="1800"/>
                        <a:ext cx="1849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9977072" y="7177000"/>
            <a:ext cx="23083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de-DE" sz="9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de-DE" sz="9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9082293" y="57146"/>
            <a:ext cx="109820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007051" eaLnBrk="1"/>
            <a:endParaRPr lang="de-DE" sz="675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221032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413" userDrawn="1">
          <p15:clr>
            <a:srgbClr val="F26B43"/>
          </p15:clr>
        </p15:guide>
        <p15:guide id="2" pos="86" userDrawn="1">
          <p15:clr>
            <a:srgbClr val="F26B43"/>
          </p15:clr>
        </p15:guide>
        <p15:guide id="3" orient="horz" pos="642" userDrawn="1">
          <p15:clr>
            <a:srgbClr val="F26B43"/>
          </p15:clr>
        </p15:guide>
        <p15:guide id="4" orient="horz" pos="4399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9082293" y="57146"/>
            <a:ext cx="109820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007051" eaLnBrk="1"/>
            <a:endParaRPr lang="de-DE" sz="675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998065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634" userDrawn="1">
          <p15:clr>
            <a:srgbClr val="000000"/>
          </p15:clr>
        </p15:guide>
        <p15:guide id="2" orient="horz" pos="641" userDrawn="1">
          <p15:clr>
            <a:srgbClr val="000000"/>
          </p15:clr>
        </p15:guide>
        <p15:guide id="3" orient="horz" pos="4400" userDrawn="1">
          <p15:clr>
            <a:srgbClr val="000000"/>
          </p15:clr>
        </p15:guide>
        <p15:guide id="4" pos="84" userDrawn="1">
          <p15:clr>
            <a:srgbClr val="00000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0" y="1800"/>
          <a:ext cx="1849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0" y="1800"/>
                        <a:ext cx="1849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642359" y="1613305"/>
            <a:ext cx="7259418" cy="55385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59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642359" y="3508049"/>
            <a:ext cx="7259418" cy="24231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575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subtitle</a:t>
            </a:r>
            <a:r>
              <a:rPr lang="de-DE" noProof="0" dirty="0"/>
              <a:t>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642359" y="4028880"/>
            <a:ext cx="7259418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575" baseline="0" dirty="0" err="1">
                <a:solidFill>
                  <a:schemeClr val="accent6"/>
                </a:solidFill>
                <a:latin typeface="+mn-lt"/>
              </a:rPr>
              <a:t>Document</a:t>
            </a:r>
            <a:r>
              <a:rPr lang="de-DE" sz="1575" baseline="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de-DE" sz="1575" baseline="0" dirty="0" err="1">
                <a:solidFill>
                  <a:schemeClr val="accent6"/>
                </a:solidFill>
                <a:latin typeface="+mn-lt"/>
              </a:rPr>
              <a:t>type</a:t>
            </a:r>
            <a:r>
              <a:rPr lang="de-DE" sz="1575" baseline="0" dirty="0">
                <a:solidFill>
                  <a:schemeClr val="accent6"/>
                </a:solidFill>
                <a:latin typeface="+mn-lt"/>
              </a:rPr>
              <a:t>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9836528" y="41080"/>
            <a:ext cx="343973" cy="137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de-DE" sz="9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642366" y="7071524"/>
            <a:ext cx="4129021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905274" eaLnBrk="0" hangingPunct="0"/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CONFIDENTIAL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AND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PROPRIETARY</a:t>
            </a:r>
            <a:endParaRPr lang="de-DE" sz="900" baseline="0" dirty="0">
              <a:solidFill>
                <a:srgbClr val="FFFFFF"/>
              </a:solidFill>
              <a:latin typeface="+mn-lt"/>
            </a:endParaRPr>
          </a:p>
          <a:p>
            <a:pPr defTabSz="905274" eaLnBrk="0" hangingPunct="0"/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Any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use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of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this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material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without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specific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permission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of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McKinsey &amp; Company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is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strictly</a:t>
            </a:r>
            <a:r>
              <a:rPr lang="de-DE" sz="900" baseline="0" dirty="0">
                <a:solidFill>
                  <a:srgbClr val="FFFFFF"/>
                </a:solidFill>
                <a:latin typeface="+mn-lt"/>
              </a:rPr>
              <a:t> </a:t>
            </a:r>
            <a:r>
              <a:rPr lang="de-DE" sz="900" baseline="0" dirty="0" err="1">
                <a:solidFill>
                  <a:srgbClr val="FFFFFF"/>
                </a:solidFill>
                <a:latin typeface="+mn-lt"/>
              </a:rPr>
              <a:t>prohibited</a:t>
            </a:r>
            <a:endParaRPr lang="de-DE" sz="9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5072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8.xml"/><Relationship Id="rId34" Type="http://schemas.openxmlformats.org/officeDocument/2006/relationships/tags" Target="../tags/tag61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tags" Target="../tags/tag60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29" Type="http://schemas.openxmlformats.org/officeDocument/2006/relationships/tags" Target="../tags/tag56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tags" Target="../tags/tag59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image" Target="../media/image1.emf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31" Type="http://schemas.openxmlformats.org/officeDocument/2006/relationships/tags" Target="../tags/tag58.xml"/><Relationship Id="rId4" Type="http://schemas.openxmlformats.org/officeDocument/2006/relationships/theme" Target="../theme/theme2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6797221"/>
              </p:ext>
            </p:extLst>
          </p:nvPr>
        </p:nvGraphicFramePr>
        <p:xfrm>
          <a:off x="0" y="0"/>
          <a:ext cx="184932" cy="1785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35" imgW="360" imgH="360" progId="">
                  <p:embed/>
                </p:oleObj>
              </mc:Choice>
              <mc:Fallback>
                <p:oleObj name="think-cell Slide" r:id="rId3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4932" cy="17854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84932" cy="178547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065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8700" y="258894"/>
            <a:ext cx="10039946" cy="346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92128" y="2194727"/>
            <a:ext cx="5011651" cy="124616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 latinLnBrk="0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 latinLnBrk="0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 latinLnBrk="0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 latinLnBrk="0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38700" y="85213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sz="900" cap="all" baseline="0" dirty="0" err="1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de-DE" sz="9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38699" y="624060"/>
            <a:ext cx="100399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sz="1800" baseline="0" dirty="0">
                <a:solidFill>
                  <a:schemeClr val="accent6"/>
                </a:solidFill>
                <a:latin typeface="+mn-lt"/>
                <a:ea typeface="+mn-ea"/>
              </a:rPr>
              <a:t>Unit </a:t>
            </a:r>
            <a:r>
              <a:rPr lang="de-DE" sz="1800" baseline="0" dirty="0" err="1">
                <a:solidFill>
                  <a:schemeClr val="accent6"/>
                </a:solidFill>
                <a:latin typeface="+mn-lt"/>
                <a:ea typeface="+mn-ea"/>
              </a:rPr>
              <a:t>of</a:t>
            </a:r>
            <a:r>
              <a:rPr lang="de-DE" sz="1800" baseline="0" dirty="0">
                <a:solidFill>
                  <a:schemeClr val="accent6"/>
                </a:solidFill>
                <a:latin typeface="+mn-lt"/>
                <a:ea typeface="+mn-ea"/>
              </a:rPr>
              <a:t> </a:t>
            </a:r>
            <a:r>
              <a:rPr lang="de-DE" sz="1800" baseline="0" dirty="0" err="1">
                <a:solidFill>
                  <a:schemeClr val="accent6"/>
                </a:solidFill>
                <a:latin typeface="+mn-lt"/>
                <a:ea typeface="+mn-ea"/>
              </a:rPr>
              <a:t>measure</a:t>
            </a:r>
            <a:endParaRPr lang="de-DE" sz="18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38700" y="7092341"/>
            <a:ext cx="9958576" cy="366022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de-DE" sz="9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</a:t>
              </a:r>
              <a:r>
                <a:rPr lang="de-DE" sz="900" baseline="0" dirty="0" err="1">
                  <a:solidFill>
                    <a:schemeClr val="accent6"/>
                  </a:solidFill>
                  <a:latin typeface="+mn-lt"/>
                  <a:ea typeface="+mn-ea"/>
                </a:rPr>
                <a:t>Footnote</a:t>
              </a:r>
              <a:endParaRPr lang="de-DE" sz="9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85617" indent="-685617" defTabSz="1007000">
                <a:tabLst>
                  <a:tab pos="689188" algn="l"/>
                </a:tabLst>
              </a:pPr>
              <a:r>
                <a:rPr lang="de-DE" sz="9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692127" y="1332470"/>
            <a:ext cx="4967268" cy="653481"/>
            <a:chOff x="915" y="664"/>
            <a:chExt cx="2686" cy="366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664"/>
              <a:ext cx="2686" cy="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de-DE" sz="2065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de-DE" sz="2065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</a:t>
              </a:r>
              <a:r>
                <a:rPr lang="de-DE" sz="2065" baseline="0" dirty="0" err="1">
                  <a:solidFill>
                    <a:schemeClr val="accent6"/>
                  </a:solidFill>
                  <a:latin typeface="+mn-lt"/>
                  <a:ea typeface="+mn-ea"/>
                </a:rPr>
                <a:t>of</a:t>
              </a:r>
              <a:r>
                <a:rPr lang="de-DE" sz="2065" baseline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de-DE" sz="2065" baseline="0" dirty="0" err="1">
                  <a:solidFill>
                    <a:schemeClr val="accent6"/>
                  </a:solidFill>
                  <a:latin typeface="+mn-lt"/>
                  <a:ea typeface="+mn-ea"/>
                </a:rPr>
                <a:t>measure</a:t>
              </a:r>
              <a:endParaRPr lang="de-DE" sz="2065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9650817" y="321385"/>
            <a:ext cx="527838" cy="166199"/>
            <a:chOff x="8287666" y="285750"/>
            <a:chExt cx="453109" cy="14777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87666" y="285750"/>
              <a:ext cx="453109" cy="14777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007000">
                <a:buClr>
                  <a:srgbClr val="002960"/>
                </a:buClr>
              </a:pPr>
              <a:r>
                <a:rPr lang="de-DE" sz="9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87666" y="285750"/>
              <a:ext cx="0" cy="1477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87666" y="433521"/>
              <a:ext cx="45310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0250990" y="7117863"/>
            <a:ext cx="53259" cy="13926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065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9082292" y="57137"/>
            <a:ext cx="109820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007000" eaLnBrk="1"/>
            <a:endParaRPr lang="de-DE" sz="675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787749" y="306317"/>
            <a:ext cx="1327920" cy="856577"/>
            <a:chOff x="7607284" y="279400"/>
            <a:chExt cx="1139919" cy="76160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de-DE" sz="2065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de-DE" sz="2065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de-DE" sz="2065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9146517" y="306434"/>
            <a:ext cx="969152" cy="1156535"/>
            <a:chOff x="5894005" y="919828"/>
            <a:chExt cx="831944" cy="1028301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de-DE" sz="2065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de-DE" sz="2065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de-DE" sz="2065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de-DE" sz="2065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9068845" y="305867"/>
            <a:ext cx="1046824" cy="1481303"/>
            <a:chOff x="5894005" y="2695123"/>
            <a:chExt cx="898619" cy="131705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206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206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206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206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206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206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206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206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206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2065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00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sldNum="0" hdr="0" dt="0"/>
  <p:txStyles>
    <p:titleStyle>
      <a:lvl1pPr algn="l" defTabSz="1007000" rtl="0" eaLnBrk="1" fontAlgn="base" hangingPunct="1">
        <a:spcBef>
          <a:spcPct val="0"/>
        </a:spcBef>
        <a:spcAft>
          <a:spcPct val="0"/>
        </a:spcAft>
        <a:tabLst>
          <a:tab pos="303528" algn="l"/>
        </a:tabLst>
        <a:defRPr sz="2249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007000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2pPr>
      <a:lvl3pPr algn="l" defTabSz="1007000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3pPr>
      <a:lvl4pPr algn="l" defTabSz="1007000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4pPr>
      <a:lvl5pPr algn="l" defTabSz="1007000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5pPr>
      <a:lvl6pPr marL="514213" algn="l" defTabSz="1007000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6pPr>
      <a:lvl7pPr marL="1028426" algn="l" defTabSz="1007000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7pPr>
      <a:lvl8pPr marL="1542639" algn="l" defTabSz="1007000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8pPr>
      <a:lvl9pPr marL="2056851" algn="l" defTabSz="1007000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070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75" baseline="0">
          <a:solidFill>
            <a:schemeClr val="tx1"/>
          </a:solidFill>
          <a:latin typeface="+mn-lt"/>
          <a:ea typeface="+mn-ea"/>
          <a:cs typeface="+mn-cs"/>
        </a:defRPr>
      </a:lvl1pPr>
      <a:lvl2pPr marL="217826" indent="-216041" algn="l" defTabSz="10070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75" baseline="0">
          <a:solidFill>
            <a:schemeClr val="tx1"/>
          </a:solidFill>
          <a:latin typeface="+mn-lt"/>
        </a:defRPr>
      </a:lvl2pPr>
      <a:lvl3pPr marL="514213" indent="-294602" algn="l" defTabSz="10070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75" baseline="0">
          <a:solidFill>
            <a:schemeClr val="tx1"/>
          </a:solidFill>
          <a:latin typeface="+mn-lt"/>
        </a:defRPr>
      </a:lvl3pPr>
      <a:lvl4pPr marL="690974" indent="-174975" algn="l" defTabSz="10070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75" baseline="0">
          <a:solidFill>
            <a:schemeClr val="tx1"/>
          </a:solidFill>
          <a:latin typeface="+mn-lt"/>
        </a:defRPr>
      </a:lvl4pPr>
      <a:lvl5pPr marL="843309" indent="-146408" algn="l" defTabSz="10070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75" baseline="0">
          <a:solidFill>
            <a:schemeClr val="tx1"/>
          </a:solidFill>
          <a:latin typeface="+mn-lt"/>
        </a:defRPr>
      </a:lvl5pPr>
      <a:lvl6pPr marL="843309" indent="-146408" algn="l" defTabSz="10070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6pPr>
      <a:lvl7pPr marL="843309" indent="-146408" algn="l" defTabSz="10070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7pPr>
      <a:lvl8pPr marL="843309" indent="-146408" algn="l" defTabSz="10070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8pPr>
      <a:lvl9pPr marL="843309" indent="-146408" algn="l" defTabSz="10070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28426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1pPr>
      <a:lvl2pPr marL="514213" algn="l" defTabSz="1028426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2pPr>
      <a:lvl3pPr marL="1028426" algn="l" defTabSz="1028426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3pPr>
      <a:lvl4pPr marL="1542639" algn="l" defTabSz="1028426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4pPr>
      <a:lvl5pPr marL="2056851" algn="l" defTabSz="1028426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5pPr>
      <a:lvl6pPr marL="2571064" algn="l" defTabSz="1028426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6pPr>
      <a:lvl7pPr marL="3085277" algn="l" defTabSz="1028426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7pPr>
      <a:lvl8pPr marL="3599490" algn="l" defTabSz="1028426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8pPr>
      <a:lvl9pPr marL="4113703" algn="l" defTabSz="1028426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" y="0"/>
          <a:ext cx="184932" cy="1785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35" imgW="360" imgH="360" progId="">
                  <p:embed/>
                </p:oleObj>
              </mc:Choice>
              <mc:Fallback>
                <p:oleObj name="think-cell Slide" r:id="rId3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84932" cy="17854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1" y="0"/>
            <a:ext cx="184932" cy="178547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8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8707" y="258908"/>
            <a:ext cx="10039946" cy="346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92133" y="2194727"/>
            <a:ext cx="5011651" cy="121155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 latinLnBrk="0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 latinLnBrk="0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 latinLnBrk="0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 latinLnBrk="0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38707" y="85221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sz="900" cap="all" baseline="0" dirty="0" err="1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de-DE" sz="9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38706" y="624073"/>
            <a:ext cx="100399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sz="1800" baseline="0" dirty="0">
                <a:solidFill>
                  <a:schemeClr val="accent6"/>
                </a:solidFill>
                <a:latin typeface="+mn-lt"/>
                <a:ea typeface="+mn-ea"/>
              </a:rPr>
              <a:t>Unit </a:t>
            </a:r>
            <a:r>
              <a:rPr lang="de-DE" sz="1800" baseline="0" dirty="0" err="1">
                <a:solidFill>
                  <a:schemeClr val="accent6"/>
                </a:solidFill>
                <a:latin typeface="+mn-lt"/>
                <a:ea typeface="+mn-ea"/>
              </a:rPr>
              <a:t>of</a:t>
            </a:r>
            <a:r>
              <a:rPr lang="de-DE" sz="1800" baseline="0" dirty="0">
                <a:solidFill>
                  <a:schemeClr val="accent6"/>
                </a:solidFill>
                <a:latin typeface="+mn-lt"/>
                <a:ea typeface="+mn-ea"/>
              </a:rPr>
              <a:t> </a:t>
            </a:r>
            <a:r>
              <a:rPr lang="de-DE" sz="1800" baseline="0" dirty="0" err="1">
                <a:solidFill>
                  <a:schemeClr val="accent6"/>
                </a:solidFill>
                <a:latin typeface="+mn-lt"/>
                <a:ea typeface="+mn-ea"/>
              </a:rPr>
              <a:t>measure</a:t>
            </a:r>
            <a:endParaRPr lang="de-DE" sz="18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38701" y="7092341"/>
            <a:ext cx="9958576" cy="366022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de-DE" sz="9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</a:t>
              </a:r>
              <a:r>
                <a:rPr lang="de-DE" sz="900" baseline="0" dirty="0" err="1">
                  <a:solidFill>
                    <a:schemeClr val="accent6"/>
                  </a:solidFill>
                  <a:latin typeface="+mn-lt"/>
                  <a:ea typeface="+mn-ea"/>
                </a:rPr>
                <a:t>Footnote</a:t>
              </a:r>
              <a:endParaRPr lang="de-DE" sz="9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85652" indent="-685652" defTabSz="1007051">
                <a:tabLst>
                  <a:tab pos="689223" algn="l"/>
                </a:tabLst>
              </a:pPr>
              <a:r>
                <a:rPr lang="de-DE" sz="9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692128" y="1412824"/>
            <a:ext cx="4967268" cy="573136"/>
            <a:chOff x="915" y="709"/>
            <a:chExt cx="2686" cy="321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09"/>
              <a:ext cx="2686" cy="3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de-DE" sz="18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de-DE" sz="1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</a:t>
              </a:r>
              <a:r>
                <a:rPr lang="de-DE" sz="1800" baseline="0" dirty="0" err="1">
                  <a:solidFill>
                    <a:schemeClr val="accent6"/>
                  </a:solidFill>
                  <a:latin typeface="+mn-lt"/>
                  <a:ea typeface="+mn-ea"/>
                </a:rPr>
                <a:t>of</a:t>
              </a:r>
              <a:r>
                <a:rPr lang="de-DE" sz="1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de-DE" sz="1800" baseline="0" dirty="0" err="1">
                  <a:solidFill>
                    <a:schemeClr val="accent6"/>
                  </a:solidFill>
                  <a:latin typeface="+mn-lt"/>
                  <a:ea typeface="+mn-ea"/>
                </a:rPr>
                <a:t>measure</a:t>
              </a:r>
              <a:endParaRPr lang="de-DE" sz="1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9650793" y="321393"/>
            <a:ext cx="527838" cy="166199"/>
            <a:chOff x="8287666" y="285750"/>
            <a:chExt cx="453109" cy="14777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87666" y="285750"/>
              <a:ext cx="453109" cy="14777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007051">
                <a:buClr>
                  <a:srgbClr val="002960"/>
                </a:buClr>
              </a:pPr>
              <a:r>
                <a:rPr lang="de-DE" sz="9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87666" y="285750"/>
              <a:ext cx="0" cy="1477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87666" y="433521"/>
              <a:ext cx="45310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0250997" y="7117877"/>
            <a:ext cx="53259" cy="13926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18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9082293" y="57146"/>
            <a:ext cx="109820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007051" eaLnBrk="1"/>
            <a:endParaRPr lang="de-DE" sz="675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787751" y="306325"/>
            <a:ext cx="1327920" cy="856577"/>
            <a:chOff x="7607284" y="279400"/>
            <a:chExt cx="1139918" cy="76160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de-DE" sz="18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de-DE" sz="18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de-DE" sz="18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77943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77943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77943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9146532" y="306442"/>
            <a:ext cx="969152" cy="1156535"/>
            <a:chOff x="5894005" y="919828"/>
            <a:chExt cx="831945" cy="1028301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de-DE" sz="18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de-DE" sz="18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de-DE" sz="18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de-DE" sz="18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77945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77945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77945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77945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9068853" y="305867"/>
            <a:ext cx="1046823" cy="1481303"/>
            <a:chOff x="5894005" y="2695123"/>
            <a:chExt cx="898619" cy="131705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18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18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18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18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18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18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18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18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18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de-DE" sz="18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77944" cy="215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07051">
                <a:buClr>
                  <a:schemeClr val="tx2"/>
                </a:buClr>
              </a:pPr>
              <a:r>
                <a:rPr lang="de-DE" sz="1575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9323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hf sldNum="0" hdr="0" dt="0"/>
  <p:txStyles>
    <p:titleStyle>
      <a:lvl1pPr algn="l" defTabSz="1007051" rtl="0" eaLnBrk="1" fontAlgn="base" hangingPunct="1">
        <a:spcBef>
          <a:spcPct val="0"/>
        </a:spcBef>
        <a:spcAft>
          <a:spcPct val="0"/>
        </a:spcAft>
        <a:tabLst>
          <a:tab pos="303543" algn="l"/>
        </a:tabLst>
        <a:defRPr sz="2249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007051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2pPr>
      <a:lvl3pPr algn="l" defTabSz="1007051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3pPr>
      <a:lvl4pPr algn="l" defTabSz="1007051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4pPr>
      <a:lvl5pPr algn="l" defTabSz="1007051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5pPr>
      <a:lvl6pPr marL="514239" algn="l" defTabSz="1007051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6pPr>
      <a:lvl7pPr marL="1028477" algn="l" defTabSz="1007051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7pPr>
      <a:lvl8pPr marL="1542715" algn="l" defTabSz="1007051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8pPr>
      <a:lvl9pPr marL="2056955" algn="l" defTabSz="1007051" rtl="0" eaLnBrk="1" fontAlgn="base" hangingPunct="1">
        <a:spcBef>
          <a:spcPct val="0"/>
        </a:spcBef>
        <a:spcAft>
          <a:spcPct val="0"/>
        </a:spcAft>
        <a:defRPr sz="213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070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75" baseline="0">
          <a:solidFill>
            <a:schemeClr val="tx1"/>
          </a:solidFill>
          <a:latin typeface="+mn-lt"/>
          <a:ea typeface="+mn-ea"/>
          <a:cs typeface="+mn-cs"/>
        </a:defRPr>
      </a:lvl1pPr>
      <a:lvl2pPr marL="217838" indent="-216053" algn="l" defTabSz="10070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75" baseline="0">
          <a:solidFill>
            <a:schemeClr val="tx1"/>
          </a:solidFill>
          <a:latin typeface="+mn-lt"/>
        </a:defRPr>
      </a:lvl2pPr>
      <a:lvl3pPr marL="514239" indent="-294616" algn="l" defTabSz="10070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75" baseline="0">
          <a:solidFill>
            <a:schemeClr val="tx1"/>
          </a:solidFill>
          <a:latin typeface="+mn-lt"/>
        </a:defRPr>
      </a:lvl3pPr>
      <a:lvl4pPr marL="691009" indent="-174984" algn="l" defTabSz="10070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75" baseline="0">
          <a:solidFill>
            <a:schemeClr val="tx1"/>
          </a:solidFill>
          <a:latin typeface="+mn-lt"/>
        </a:defRPr>
      </a:lvl4pPr>
      <a:lvl5pPr marL="843352" indent="-146415" algn="l" defTabSz="10070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75" baseline="0">
          <a:solidFill>
            <a:schemeClr val="tx1"/>
          </a:solidFill>
          <a:latin typeface="+mn-lt"/>
        </a:defRPr>
      </a:lvl5pPr>
      <a:lvl6pPr marL="843352" indent="-146415" algn="l" defTabSz="10070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6pPr>
      <a:lvl7pPr marL="843352" indent="-146415" algn="l" defTabSz="10070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7pPr>
      <a:lvl8pPr marL="843352" indent="-146415" algn="l" defTabSz="10070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8pPr>
      <a:lvl9pPr marL="843352" indent="-146415" algn="l" defTabSz="10070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28477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1pPr>
      <a:lvl2pPr marL="514239" algn="l" defTabSz="1028477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2pPr>
      <a:lvl3pPr marL="1028477" algn="l" defTabSz="1028477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3pPr>
      <a:lvl4pPr marL="1542715" algn="l" defTabSz="1028477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4pPr>
      <a:lvl5pPr marL="2056955" algn="l" defTabSz="1028477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5pPr>
      <a:lvl6pPr marL="2571192" algn="l" defTabSz="1028477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6pPr>
      <a:lvl7pPr marL="3085431" algn="l" defTabSz="1028477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7pPr>
      <a:lvl8pPr marL="3599670" algn="l" defTabSz="1028477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8pPr>
      <a:lvl9pPr marL="4113909" algn="l" defTabSz="1028477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tags" Target="../tags/tag6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jpg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notesSlide" Target="../notesSlides/notesSlide3.xml"/><Relationship Id="rId18" Type="http://schemas.openxmlformats.org/officeDocument/2006/relationships/image" Target="../media/image7.pn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slideLayout" Target="../slideLayouts/slideLayout1.xml"/><Relationship Id="rId17" Type="http://schemas.openxmlformats.org/officeDocument/2006/relationships/chart" Target="../charts/chart1.xml"/><Relationship Id="rId2" Type="http://schemas.openxmlformats.org/officeDocument/2006/relationships/tags" Target="../tags/tag67.xml"/><Relationship Id="rId16" Type="http://schemas.openxmlformats.org/officeDocument/2006/relationships/image" Target="../media/image2.emf"/><Relationship Id="rId1" Type="http://schemas.openxmlformats.org/officeDocument/2006/relationships/vmlDrawing" Target="../drawings/vmlDrawing9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75.xml"/><Relationship Id="rId19" Type="http://schemas.openxmlformats.org/officeDocument/2006/relationships/image" Target="../media/image8.svg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image" Target="../media/image6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oleObject" Target="../embeddings/oleObject9.bin"/><Relationship Id="rId3" Type="http://schemas.openxmlformats.org/officeDocument/2006/relationships/tags" Target="../tags/tag78.xml"/><Relationship Id="rId21" Type="http://schemas.openxmlformats.org/officeDocument/2006/relationships/tags" Target="../tags/tag96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notesSlide" Target="../notesSlides/notesSlide4.xml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slideLayout" Target="../slideLayouts/slideLayout1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tags" Target="../tags/tag98.xml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tags" Target="../tags/tag97.xml"/><Relationship Id="rId27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3149450" y="2519655"/>
            <a:ext cx="6257251" cy="1107739"/>
          </a:xfrm>
        </p:spPr>
        <p:txBody>
          <a:bodyPr/>
          <a:lstStyle/>
          <a:p>
            <a:r>
              <a:rPr lang="de-DE" dirty="0" err="1">
                <a:solidFill>
                  <a:srgbClr val="006983"/>
                </a:solidFill>
              </a:rPr>
              <a:t>xxxx</a:t>
            </a:r>
            <a:br>
              <a:rPr lang="de-DE" dirty="0">
                <a:solidFill>
                  <a:srgbClr val="006983"/>
                </a:solidFill>
              </a:rPr>
            </a:br>
            <a:endParaRPr lang="de-DE" dirty="0">
              <a:solidFill>
                <a:srgbClr val="006983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195137"/>
              </p:ext>
            </p:extLst>
          </p:nvPr>
        </p:nvGraphicFramePr>
        <p:xfrm>
          <a:off x="182001" y="1787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001" y="1787"/>
                        <a:ext cx="1785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9E9DE82-2042-43F4-8BFD-9EE396F35497}"/>
              </a:ext>
            </a:extLst>
          </p:cNvPr>
          <p:cNvGrpSpPr/>
          <p:nvPr/>
        </p:nvGrpSpPr>
        <p:grpSpPr>
          <a:xfrm>
            <a:off x="-4511" y="-305"/>
            <a:ext cx="2467518" cy="7559981"/>
            <a:chOff x="-1641987" y="-272"/>
            <a:chExt cx="2193925" cy="6721747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DA0EE4A3-84B3-4EA2-9B47-055E30FC7D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413" r="31403"/>
            <a:stretch/>
          </p:blipFill>
          <p:spPr>
            <a:xfrm>
              <a:off x="-1641987" y="-272"/>
              <a:ext cx="2190751" cy="6721747"/>
            </a:xfrm>
            <a:prstGeom prst="rect">
              <a:avLst/>
            </a:prstGeom>
          </p:spPr>
        </p:pic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9FE0031C-3801-4409-A1F8-BD286529DB1A}"/>
                </a:ext>
              </a:extLst>
            </p:cNvPr>
            <p:cNvSpPr/>
            <p:nvPr/>
          </p:nvSpPr>
          <p:spPr>
            <a:xfrm>
              <a:off x="-1641987" y="-272"/>
              <a:ext cx="2193925" cy="6721475"/>
            </a:xfrm>
            <a:prstGeom prst="rect">
              <a:avLst/>
            </a:prstGeom>
            <a:solidFill>
              <a:schemeClr val="bg1">
                <a:alpha val="58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2065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TitleBottomPlaceholder"/>
            <p:cNvSpPr>
              <a:spLocks noChangeArrowheads="1"/>
            </p:cNvSpPr>
            <p:nvPr/>
          </p:nvSpPr>
          <p:spPr bwMode="auto">
            <a:xfrm>
              <a:off x="-1641987" y="-272"/>
              <a:ext cx="2193925" cy="6721747"/>
            </a:xfrm>
            <a:prstGeom prst="rect">
              <a:avLst/>
            </a:prstGeom>
            <a:solidFill>
              <a:srgbClr val="006983">
                <a:alpha val="38824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de-DE" sz="2065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3079" name="Date"/>
          <p:cNvSpPr txBox="1">
            <a:spLocks noChangeArrowheads="1"/>
          </p:cNvSpPr>
          <p:nvPr/>
        </p:nvSpPr>
        <p:spPr bwMode="auto">
          <a:xfrm>
            <a:off x="3149450" y="3680498"/>
            <a:ext cx="5551022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575" dirty="0" err="1">
                <a:solidFill>
                  <a:srgbClr val="000000"/>
                </a:solidFill>
                <a:latin typeface="Arial"/>
              </a:rPr>
              <a:t>xxxx</a:t>
            </a:r>
            <a:endParaRPr lang="de-DE" sz="157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Rectangle 113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7091882"/>
            <a:ext cx="10439400" cy="473150"/>
          </a:xfrm>
          <a:prstGeom prst="rect">
            <a:avLst/>
          </a:prstGeom>
          <a:solidFill>
            <a:srgbClr val="006983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de-DE" sz="2065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2" name="Grafik 11" descr="C:\Users\Andrea\My Tresors\peak pride management GmbH\Legal\PeakPride_RGB.jp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550629" y="414229"/>
            <a:ext cx="1856071" cy="1528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414061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2001" y="1787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001" y="1787"/>
                        <a:ext cx="1785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9E9DE82-2042-43F4-8BFD-9EE396F35497}"/>
              </a:ext>
            </a:extLst>
          </p:cNvPr>
          <p:cNvGrpSpPr/>
          <p:nvPr/>
        </p:nvGrpSpPr>
        <p:grpSpPr>
          <a:xfrm>
            <a:off x="0" y="-305"/>
            <a:ext cx="1457617" cy="7559981"/>
            <a:chOff x="-1641987" y="-272"/>
            <a:chExt cx="2193925" cy="6721747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DA0EE4A3-84B3-4EA2-9B47-055E30FC7D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413" r="31403"/>
            <a:stretch/>
          </p:blipFill>
          <p:spPr>
            <a:xfrm>
              <a:off x="-1641987" y="-272"/>
              <a:ext cx="2190751" cy="6721747"/>
            </a:xfrm>
            <a:prstGeom prst="rect">
              <a:avLst/>
            </a:prstGeom>
          </p:spPr>
        </p:pic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9FE0031C-3801-4409-A1F8-BD286529DB1A}"/>
                </a:ext>
              </a:extLst>
            </p:cNvPr>
            <p:cNvSpPr/>
            <p:nvPr/>
          </p:nvSpPr>
          <p:spPr>
            <a:xfrm>
              <a:off x="-1641987" y="-272"/>
              <a:ext cx="2193925" cy="6721475"/>
            </a:xfrm>
            <a:prstGeom prst="rect">
              <a:avLst/>
            </a:prstGeom>
            <a:solidFill>
              <a:schemeClr val="bg1">
                <a:alpha val="58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2065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TitleBottomPlaceholder"/>
            <p:cNvSpPr>
              <a:spLocks noChangeArrowheads="1"/>
            </p:cNvSpPr>
            <p:nvPr/>
          </p:nvSpPr>
          <p:spPr bwMode="auto">
            <a:xfrm>
              <a:off x="-1641987" y="-272"/>
              <a:ext cx="2193925" cy="6721747"/>
            </a:xfrm>
            <a:prstGeom prst="rect">
              <a:avLst/>
            </a:prstGeom>
            <a:solidFill>
              <a:srgbClr val="006983">
                <a:alpha val="38824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de-DE" sz="2065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2" name="Grafik 11" descr="C:\Users\Andrea\My Tresors\peak pride management GmbH\Legal\PeakPride_RGB.jp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474866" y="177654"/>
            <a:ext cx="574603" cy="4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itle 22">
            <a:extLst>
              <a:ext uri="{FF2B5EF4-FFF2-40B4-BE49-F238E27FC236}">
                <a16:creationId xmlns:a16="http://schemas.microsoft.com/office/drawing/2014/main" id="{F0C62317-5602-4E12-B4CC-009C807DBE6B}"/>
              </a:ext>
            </a:extLst>
          </p:cNvPr>
          <p:cNvSpPr txBox="1">
            <a:spLocks/>
          </p:cNvSpPr>
          <p:nvPr/>
        </p:nvSpPr>
        <p:spPr bwMode="auto">
          <a:xfrm>
            <a:off x="1819286" y="280046"/>
            <a:ext cx="8121798" cy="346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sz="2249" kern="0" dirty="0">
                <a:solidFill>
                  <a:srgbClr val="002960"/>
                </a:solidFill>
              </a:rPr>
              <a:t>Inhaltsverzeichnis</a:t>
            </a:r>
            <a:endParaRPr lang="de-DE" sz="3599" kern="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4C637B4-B8C7-4D76-90B6-589E6A442408}"/>
              </a:ext>
            </a:extLst>
          </p:cNvPr>
          <p:cNvSpPr/>
          <p:nvPr/>
        </p:nvSpPr>
        <p:spPr>
          <a:xfrm>
            <a:off x="1819287" y="1110688"/>
            <a:ext cx="1615571" cy="958063"/>
          </a:xfrm>
          <a:prstGeom prst="rect">
            <a:avLst/>
          </a:prstGeom>
          <a:solidFill>
            <a:srgbClr val="006983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de-AT" sz="5400" dirty="0">
                <a:solidFill>
                  <a:srgbClr val="AD005B"/>
                </a:solidFill>
                <a:latin typeface="Arial" charset="0"/>
              </a:rPr>
              <a:t>1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2A124C1-6948-4865-8C53-2A6694900D1D}"/>
              </a:ext>
            </a:extLst>
          </p:cNvPr>
          <p:cNvSpPr/>
          <p:nvPr/>
        </p:nvSpPr>
        <p:spPr>
          <a:xfrm>
            <a:off x="3478906" y="1110691"/>
            <a:ext cx="6462178" cy="958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de-AT" sz="2000" b="1" dirty="0">
                <a:solidFill>
                  <a:srgbClr val="000000"/>
                </a:solidFill>
              </a:rPr>
              <a:t>xxx</a:t>
            </a:r>
          </a:p>
        </p:txBody>
      </p:sp>
      <p:sp>
        <p:nvSpPr>
          <p:cNvPr id="20" name="Rechteck 3">
            <a:extLst>
              <a:ext uri="{FF2B5EF4-FFF2-40B4-BE49-F238E27FC236}">
                <a16:creationId xmlns:a16="http://schemas.microsoft.com/office/drawing/2014/main" id="{229B3471-5D88-4B37-8FD2-8E92A0F66F03}"/>
              </a:ext>
            </a:extLst>
          </p:cNvPr>
          <p:cNvSpPr/>
          <p:nvPr/>
        </p:nvSpPr>
        <p:spPr>
          <a:xfrm>
            <a:off x="1819287" y="2205748"/>
            <a:ext cx="1615571" cy="958063"/>
          </a:xfrm>
          <a:prstGeom prst="rect">
            <a:avLst/>
          </a:prstGeom>
          <a:solidFill>
            <a:schemeClr val="accent6">
              <a:lumMod val="60000"/>
              <a:lumOff val="40000"/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de-AT" sz="5400" dirty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2</a:t>
            </a:r>
          </a:p>
        </p:txBody>
      </p:sp>
      <p:sp>
        <p:nvSpPr>
          <p:cNvPr id="21" name="Rechteck 16">
            <a:extLst>
              <a:ext uri="{FF2B5EF4-FFF2-40B4-BE49-F238E27FC236}">
                <a16:creationId xmlns:a16="http://schemas.microsoft.com/office/drawing/2014/main" id="{71163CCF-8AF1-4846-A372-74CF5773A2F2}"/>
              </a:ext>
            </a:extLst>
          </p:cNvPr>
          <p:cNvSpPr/>
          <p:nvPr/>
        </p:nvSpPr>
        <p:spPr>
          <a:xfrm>
            <a:off x="3478906" y="2205748"/>
            <a:ext cx="6462178" cy="958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2000" b="1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xxxx</a:t>
            </a:r>
            <a:endParaRPr lang="de-AT" sz="2000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6" name="Rechteck 3">
            <a:extLst>
              <a:ext uri="{FF2B5EF4-FFF2-40B4-BE49-F238E27FC236}">
                <a16:creationId xmlns:a16="http://schemas.microsoft.com/office/drawing/2014/main" id="{E147A400-5D27-4509-A116-0919D8063B59}"/>
              </a:ext>
            </a:extLst>
          </p:cNvPr>
          <p:cNvSpPr/>
          <p:nvPr/>
        </p:nvSpPr>
        <p:spPr>
          <a:xfrm>
            <a:off x="1819287" y="3300806"/>
            <a:ext cx="1615571" cy="958063"/>
          </a:xfrm>
          <a:prstGeom prst="rect">
            <a:avLst/>
          </a:prstGeom>
          <a:solidFill>
            <a:schemeClr val="accent6">
              <a:lumMod val="60000"/>
              <a:lumOff val="40000"/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de-AT" sz="5400" dirty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3</a:t>
            </a:r>
          </a:p>
        </p:txBody>
      </p:sp>
      <p:sp>
        <p:nvSpPr>
          <p:cNvPr id="27" name="Rechteck 16">
            <a:extLst>
              <a:ext uri="{FF2B5EF4-FFF2-40B4-BE49-F238E27FC236}">
                <a16:creationId xmlns:a16="http://schemas.microsoft.com/office/drawing/2014/main" id="{9B3ED153-EF3E-49A5-9099-8D93EDD40703}"/>
              </a:ext>
            </a:extLst>
          </p:cNvPr>
          <p:cNvSpPr/>
          <p:nvPr/>
        </p:nvSpPr>
        <p:spPr>
          <a:xfrm>
            <a:off x="3478906" y="3300806"/>
            <a:ext cx="6462178" cy="958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2000" b="1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xxxx</a:t>
            </a:r>
            <a:endParaRPr lang="de-AT" sz="2000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1" name="Rechteck 3">
            <a:extLst>
              <a:ext uri="{FF2B5EF4-FFF2-40B4-BE49-F238E27FC236}">
                <a16:creationId xmlns:a16="http://schemas.microsoft.com/office/drawing/2014/main" id="{3FBAD05B-5A3F-47E5-8E78-A0F20B4520FE}"/>
              </a:ext>
            </a:extLst>
          </p:cNvPr>
          <p:cNvSpPr/>
          <p:nvPr/>
        </p:nvSpPr>
        <p:spPr>
          <a:xfrm>
            <a:off x="1819287" y="4395863"/>
            <a:ext cx="1615571" cy="958063"/>
          </a:xfrm>
          <a:prstGeom prst="rect">
            <a:avLst/>
          </a:prstGeom>
          <a:solidFill>
            <a:schemeClr val="accent6">
              <a:lumMod val="60000"/>
              <a:lumOff val="40000"/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de-AT" sz="5400" dirty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4</a:t>
            </a:r>
          </a:p>
        </p:txBody>
      </p:sp>
      <p:sp>
        <p:nvSpPr>
          <p:cNvPr id="32" name="Rechteck 16">
            <a:extLst>
              <a:ext uri="{FF2B5EF4-FFF2-40B4-BE49-F238E27FC236}">
                <a16:creationId xmlns:a16="http://schemas.microsoft.com/office/drawing/2014/main" id="{BADBEB30-1193-4B77-B054-F45E24B86EC3}"/>
              </a:ext>
            </a:extLst>
          </p:cNvPr>
          <p:cNvSpPr/>
          <p:nvPr/>
        </p:nvSpPr>
        <p:spPr>
          <a:xfrm>
            <a:off x="3478906" y="4395863"/>
            <a:ext cx="6462178" cy="958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2000" b="1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xxxx</a:t>
            </a:r>
            <a:endParaRPr lang="de-AT" sz="2000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6" name="Rechteck 3">
            <a:extLst>
              <a:ext uri="{FF2B5EF4-FFF2-40B4-BE49-F238E27FC236}">
                <a16:creationId xmlns:a16="http://schemas.microsoft.com/office/drawing/2014/main" id="{C620C141-9BE2-4040-A671-7BCCB3306B47}"/>
              </a:ext>
            </a:extLst>
          </p:cNvPr>
          <p:cNvSpPr/>
          <p:nvPr/>
        </p:nvSpPr>
        <p:spPr>
          <a:xfrm>
            <a:off x="1819287" y="5490923"/>
            <a:ext cx="1615571" cy="958063"/>
          </a:xfrm>
          <a:prstGeom prst="rect">
            <a:avLst/>
          </a:prstGeom>
          <a:solidFill>
            <a:schemeClr val="accent6">
              <a:lumMod val="60000"/>
              <a:lumOff val="40000"/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de-AT" sz="5400" dirty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5</a:t>
            </a:r>
          </a:p>
        </p:txBody>
      </p:sp>
      <p:sp>
        <p:nvSpPr>
          <p:cNvPr id="37" name="Rechteck 16">
            <a:extLst>
              <a:ext uri="{FF2B5EF4-FFF2-40B4-BE49-F238E27FC236}">
                <a16:creationId xmlns:a16="http://schemas.microsoft.com/office/drawing/2014/main" id="{4AE194DD-3F2A-4423-8328-2175B1B5563D}"/>
              </a:ext>
            </a:extLst>
          </p:cNvPr>
          <p:cNvSpPr/>
          <p:nvPr/>
        </p:nvSpPr>
        <p:spPr>
          <a:xfrm>
            <a:off x="3478906" y="5490923"/>
            <a:ext cx="6462178" cy="958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2000" b="1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xxxx</a:t>
            </a:r>
            <a:endParaRPr lang="de-AT" sz="2000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6380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0D12A04D-F3DA-4243-B6CD-521FC8F5FC8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3" r="25949"/>
          <a:stretch/>
        </p:blipFill>
        <p:spPr>
          <a:xfrm>
            <a:off x="2982" y="7"/>
            <a:ext cx="1500955" cy="7560041"/>
          </a:xfrm>
          <a:prstGeom prst="rect">
            <a:avLst/>
          </a:prstGeom>
        </p:spPr>
      </p:pic>
      <p:sp>
        <p:nvSpPr>
          <p:cNvPr id="65" name="Rechteck 64">
            <a:extLst>
              <a:ext uri="{FF2B5EF4-FFF2-40B4-BE49-F238E27FC236}">
                <a16:creationId xmlns:a16="http://schemas.microsoft.com/office/drawing/2014/main" id="{11A9BE36-1BF6-4483-93C6-90D474276D33}"/>
              </a:ext>
            </a:extLst>
          </p:cNvPr>
          <p:cNvSpPr/>
          <p:nvPr/>
        </p:nvSpPr>
        <p:spPr>
          <a:xfrm>
            <a:off x="2982" y="7"/>
            <a:ext cx="1500955" cy="7559675"/>
          </a:xfrm>
          <a:prstGeom prst="rect">
            <a:avLst/>
          </a:prstGeom>
          <a:solidFill>
            <a:schemeClr val="bg1"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2065" dirty="0" err="1">
              <a:solidFill>
                <a:schemeClr val="tx1"/>
              </a:solidFill>
            </a:endParaRP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435C103-F950-41C0-ABD7-558297E0C7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1711" y="217933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435C103-F950-41C0-ABD7-558297E0C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81711" y="217933"/>
                        <a:ext cx="1496" cy="14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1D370702-2742-45D0-99A3-9C2089099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9286" y="280046"/>
            <a:ext cx="8121798" cy="346158"/>
          </a:xfrm>
        </p:spPr>
        <p:txBody>
          <a:bodyPr/>
          <a:lstStyle/>
          <a:p>
            <a:r>
              <a:rPr lang="de-DE" dirty="0"/>
              <a:t>Company </a:t>
            </a:r>
            <a:r>
              <a:rPr lang="de-DE" dirty="0" err="1"/>
              <a:t>xxxx</a:t>
            </a:r>
            <a:endParaRPr lang="de-DE" dirty="0"/>
          </a:p>
        </p:txBody>
      </p:sp>
      <p:sp>
        <p:nvSpPr>
          <p:cNvPr id="49" name="Rectangle 15">
            <a:extLst>
              <a:ext uri="{FF2B5EF4-FFF2-40B4-BE49-F238E27FC236}">
                <a16:creationId xmlns:a16="http://schemas.microsoft.com/office/drawing/2014/main" id="{27590957-22A4-4617-8683-6696CABE59D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482676" y="782044"/>
            <a:ext cx="1506805" cy="20244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de-DE" sz="1350" b="1" dirty="0">
                <a:solidFill>
                  <a:srgbClr val="006983"/>
                </a:solidFill>
              </a:rPr>
              <a:t>Industrie</a:t>
            </a:r>
            <a:endParaRPr lang="de-DE" sz="1350" dirty="0">
              <a:solidFill>
                <a:srgbClr val="006983"/>
              </a:solidFill>
            </a:endParaRPr>
          </a:p>
        </p:txBody>
      </p:sp>
      <p:sp>
        <p:nvSpPr>
          <p:cNvPr id="34" name="Rectangle 15">
            <a:extLst>
              <a:ext uri="{FF2B5EF4-FFF2-40B4-BE49-F238E27FC236}">
                <a16:creationId xmlns:a16="http://schemas.microsoft.com/office/drawing/2014/main" id="{268AABBA-1479-4718-ACEB-6E2538483F1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18243" y="772231"/>
            <a:ext cx="2714232" cy="141712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80989" tIns="80989" rIns="80989" bIns="80989" anchor="ctr">
            <a:noAutofit/>
          </a:bodyPr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ts val="337"/>
              </a:spcBef>
              <a:spcAft>
                <a:spcPts val="337"/>
              </a:spcAft>
            </a:pPr>
            <a:r>
              <a:rPr lang="de-DE" sz="1012" b="1" i="1" kern="0" dirty="0"/>
              <a:t>Website: </a:t>
            </a:r>
            <a:r>
              <a:rPr lang="de-DE" sz="1012" kern="0" dirty="0"/>
              <a:t>xxx</a:t>
            </a:r>
            <a:endParaRPr lang="de-AT" sz="1012" kern="0" dirty="0"/>
          </a:p>
          <a:p>
            <a:pPr>
              <a:spcBef>
                <a:spcPts val="337"/>
              </a:spcBef>
              <a:spcAft>
                <a:spcPts val="337"/>
              </a:spcAft>
            </a:pPr>
            <a:r>
              <a:rPr lang="de-AT" sz="1012" b="1" i="1" kern="0" dirty="0"/>
              <a:t>Standort: </a:t>
            </a:r>
            <a:r>
              <a:rPr lang="de-AT" sz="1012" kern="0" dirty="0"/>
              <a:t>xxx</a:t>
            </a:r>
          </a:p>
          <a:p>
            <a:pPr>
              <a:spcBef>
                <a:spcPts val="337"/>
              </a:spcBef>
              <a:spcAft>
                <a:spcPts val="337"/>
              </a:spcAft>
            </a:pPr>
            <a:r>
              <a:rPr lang="de-AT" sz="1012" b="1" i="1" kern="0" dirty="0"/>
              <a:t>Mitarbeiter: </a:t>
            </a:r>
            <a:r>
              <a:rPr lang="de-AT" sz="1012" kern="0" dirty="0" err="1"/>
              <a:t>n.a</a:t>
            </a:r>
            <a:r>
              <a:rPr lang="de-AT" sz="1012" kern="0" dirty="0"/>
              <a:t>.</a:t>
            </a:r>
          </a:p>
          <a:p>
            <a:pPr>
              <a:spcBef>
                <a:spcPts val="337"/>
              </a:spcBef>
              <a:spcAft>
                <a:spcPts val="337"/>
              </a:spcAft>
            </a:pPr>
            <a:r>
              <a:rPr lang="de-AT" sz="1012" b="1" i="1" kern="0" dirty="0"/>
              <a:t>Geschäftsführung: </a:t>
            </a:r>
            <a:r>
              <a:rPr lang="de-AT" sz="1012" kern="0" dirty="0"/>
              <a:t>xxx</a:t>
            </a:r>
          </a:p>
          <a:p>
            <a:pPr>
              <a:spcBef>
                <a:spcPts val="337"/>
              </a:spcBef>
              <a:spcAft>
                <a:spcPts val="337"/>
              </a:spcAft>
            </a:pPr>
            <a:r>
              <a:rPr lang="de-AT" sz="1012" b="1" i="1" kern="0" dirty="0"/>
              <a:t>Investment</a:t>
            </a:r>
            <a:r>
              <a:rPr lang="de-AT" sz="1012" kern="0" dirty="0"/>
              <a:t> </a:t>
            </a:r>
            <a:r>
              <a:rPr lang="de-AT" sz="1012" b="1" i="1" kern="0" dirty="0"/>
              <a:t>: </a:t>
            </a:r>
            <a:r>
              <a:rPr lang="de-AT" sz="1012" kern="0" dirty="0"/>
              <a:t>xxx</a:t>
            </a:r>
          </a:p>
          <a:p>
            <a:pPr>
              <a:spcBef>
                <a:spcPts val="337"/>
              </a:spcBef>
              <a:spcAft>
                <a:spcPts val="337"/>
              </a:spcAft>
            </a:pPr>
            <a:r>
              <a:rPr lang="de-AT" sz="1012" b="1" i="1" kern="0" dirty="0"/>
              <a:t>Einstieg: </a:t>
            </a:r>
            <a:r>
              <a:rPr lang="de-AT" sz="1012" kern="0" dirty="0"/>
              <a:t>xxx</a:t>
            </a: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CA46E6E6-177E-4C6E-81D6-6016D7EFC9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7743230"/>
              </p:ext>
            </p:extLst>
          </p:nvPr>
        </p:nvGraphicFramePr>
        <p:xfrm>
          <a:off x="5598823" y="789256"/>
          <a:ext cx="2941525" cy="1417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74410CE6-277E-4A2C-B710-A3FE80769BA6}"/>
              </a:ext>
            </a:extLst>
          </p:cNvPr>
          <p:cNvGrpSpPr/>
          <p:nvPr/>
        </p:nvGrpSpPr>
        <p:grpSpPr>
          <a:xfrm>
            <a:off x="8482676" y="1092794"/>
            <a:ext cx="1506805" cy="1078596"/>
            <a:chOff x="2337531" y="2512832"/>
            <a:chExt cx="1339734" cy="959004"/>
          </a:xfrm>
        </p:grpSpPr>
        <p:pic>
          <p:nvPicPr>
            <p:cNvPr id="26" name="Grafik 25" descr="Basketball">
              <a:extLst>
                <a:ext uri="{FF2B5EF4-FFF2-40B4-BE49-F238E27FC236}">
                  <a16:creationId xmlns:a16="http://schemas.microsoft.com/office/drawing/2014/main" id="{E0F389F2-CF60-4472-A4C6-C574EBB780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2634635" y="2512832"/>
              <a:ext cx="720000" cy="720000"/>
            </a:xfrm>
            <a:prstGeom prst="rect">
              <a:avLst/>
            </a:prstGeom>
          </p:spPr>
        </p:pic>
        <p:sp>
          <p:nvSpPr>
            <p:cNvPr id="43" name="Rectangle 15">
              <a:extLst>
                <a:ext uri="{FF2B5EF4-FFF2-40B4-BE49-F238E27FC236}">
                  <a16:creationId xmlns:a16="http://schemas.microsoft.com/office/drawing/2014/main" id="{56909CAD-68ED-4529-A212-043F9EC85F76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37531" y="3291836"/>
              <a:ext cx="1339734" cy="18000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80989" tIns="80989" rIns="80989" bIns="80989" anchor="ctr"/>
            <a:lstStyle>
              <a:lvl1pPr algn="l" defTabSz="895350"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algn="l" defTabSz="895350">
                <a:spcAft>
                  <a:spcPct val="0"/>
                </a:spcAft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algn="l" defTabSz="895350">
                <a:spcAft>
                  <a:spcPct val="0"/>
                </a:spcAft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algn="l" defTabSz="895350">
                <a:spcAft>
                  <a:spcPct val="0"/>
                </a:spcAft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algn="l" defTabSz="895350">
                <a:spcAft>
                  <a:spcPct val="0"/>
                </a:spcAft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de-DE" sz="1012" dirty="0"/>
                <a:t>Sport/ Freizeit</a:t>
              </a:r>
            </a:p>
          </p:txBody>
        </p:sp>
      </p:grp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8AD7FACB-B958-4E15-8F2A-6AE9731D03A4}"/>
              </a:ext>
            </a:extLst>
          </p:cNvPr>
          <p:cNvCxnSpPr/>
          <p:nvPr/>
        </p:nvCxnSpPr>
        <p:spPr>
          <a:xfrm>
            <a:off x="2818243" y="2333882"/>
            <a:ext cx="7122842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15">
            <a:extLst>
              <a:ext uri="{FF2B5EF4-FFF2-40B4-BE49-F238E27FC236}">
                <a16:creationId xmlns:a16="http://schemas.microsoft.com/office/drawing/2014/main" id="{BC015647-954C-4A62-B535-2732CC023FA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479575" y="782044"/>
            <a:ext cx="2070758" cy="20244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1350" b="1" dirty="0">
                <a:solidFill>
                  <a:srgbClr val="006983"/>
                </a:solidFill>
              </a:rPr>
              <a:t>Eigentümerstruktur</a:t>
            </a:r>
            <a:endParaRPr lang="de-DE" sz="1350" dirty="0">
              <a:solidFill>
                <a:srgbClr val="006983"/>
              </a:solidFill>
            </a:endParaRPr>
          </a:p>
        </p:txBody>
      </p:sp>
      <p:sp>
        <p:nvSpPr>
          <p:cNvPr id="64" name="TitleBottomPlaceholder">
            <a:extLst>
              <a:ext uri="{FF2B5EF4-FFF2-40B4-BE49-F238E27FC236}">
                <a16:creationId xmlns:a16="http://schemas.microsoft.com/office/drawing/2014/main" id="{7270322C-362A-4686-B868-A9BFE67443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2" y="7"/>
            <a:ext cx="1500955" cy="7559981"/>
          </a:xfrm>
          <a:prstGeom prst="rect">
            <a:avLst/>
          </a:prstGeom>
          <a:solidFill>
            <a:srgbClr val="006983">
              <a:alpha val="38824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de-DE" sz="206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Rechteck 28">
            <a:extLst>
              <a:ext uri="{FF2B5EF4-FFF2-40B4-BE49-F238E27FC236}">
                <a16:creationId xmlns:a16="http://schemas.microsoft.com/office/drawing/2014/main" id="{CDF17799-6635-46DB-A190-E48A924E8053}"/>
              </a:ext>
            </a:extLst>
          </p:cNvPr>
          <p:cNvSpPr/>
          <p:nvPr/>
        </p:nvSpPr>
        <p:spPr>
          <a:xfrm>
            <a:off x="1819290" y="1258107"/>
            <a:ext cx="890766" cy="44538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AT" sz="1400" b="1" dirty="0">
                <a:solidFill>
                  <a:srgbClr val="006983"/>
                </a:solidFill>
                <a:latin typeface="+mj-lt"/>
                <a:ea typeface="+mj-ea"/>
                <a:cs typeface="+mj-cs"/>
              </a:rPr>
              <a:t>Info</a:t>
            </a:r>
          </a:p>
        </p:txBody>
      </p:sp>
      <p:cxnSp>
        <p:nvCxnSpPr>
          <p:cNvPr id="35" name="Gerader Verbinder 23">
            <a:extLst>
              <a:ext uri="{FF2B5EF4-FFF2-40B4-BE49-F238E27FC236}">
                <a16:creationId xmlns:a16="http://schemas.microsoft.com/office/drawing/2014/main" id="{5A2205AA-4B44-4212-BCC3-C737B95387BB}"/>
              </a:ext>
            </a:extLst>
          </p:cNvPr>
          <p:cNvCxnSpPr>
            <a:cxnSpLocks/>
          </p:cNvCxnSpPr>
          <p:nvPr/>
        </p:nvCxnSpPr>
        <p:spPr>
          <a:xfrm>
            <a:off x="2751900" y="772231"/>
            <a:ext cx="1" cy="1417128"/>
          </a:xfrm>
          <a:prstGeom prst="line">
            <a:avLst/>
          </a:prstGeom>
          <a:ln w="15875">
            <a:solidFill>
              <a:srgbClr val="0069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DC018009-A407-4628-A985-1F13381B3E99}"/>
              </a:ext>
            </a:extLst>
          </p:cNvPr>
          <p:cNvSpPr/>
          <p:nvPr/>
        </p:nvSpPr>
        <p:spPr>
          <a:xfrm>
            <a:off x="6560473" y="6135985"/>
            <a:ext cx="2839223" cy="368691"/>
          </a:xfrm>
          <a:prstGeom prst="rect">
            <a:avLst/>
          </a:prstGeom>
          <a:solidFill>
            <a:srgbClr val="FFFBA7">
              <a:alpha val="30000"/>
            </a:srgbClr>
          </a:solidFill>
          <a:ln w="9525">
            <a:solidFill>
              <a:srgbClr val="006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012" dirty="0">
                <a:solidFill>
                  <a:schemeClr val="tx1"/>
                </a:solidFill>
              </a:rPr>
              <a:t>Neutral mit Potential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EC9EBD3-F349-4C5A-822B-64EA3291B34E}"/>
              </a:ext>
            </a:extLst>
          </p:cNvPr>
          <p:cNvSpPr/>
          <p:nvPr/>
        </p:nvSpPr>
        <p:spPr>
          <a:xfrm>
            <a:off x="1819287" y="2453553"/>
            <a:ext cx="890766" cy="15083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1422" rIns="0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1400" b="1" dirty="0">
                <a:solidFill>
                  <a:srgbClr val="006983"/>
                </a:solidFill>
                <a:latin typeface="+mj-lt"/>
                <a:ea typeface="+mj-ea"/>
                <a:cs typeface="+mj-cs"/>
              </a:rPr>
              <a:t>Busines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C493651-8360-407B-BB91-B9E1837C2022}"/>
              </a:ext>
            </a:extLst>
          </p:cNvPr>
          <p:cNvSpPr/>
          <p:nvPr/>
        </p:nvSpPr>
        <p:spPr>
          <a:xfrm>
            <a:off x="1819287" y="4275810"/>
            <a:ext cx="890766" cy="290897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1422" rIns="0" bIns="514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1400" b="1" dirty="0">
                <a:solidFill>
                  <a:srgbClr val="006983"/>
                </a:solidFill>
                <a:latin typeface="+mj-lt"/>
                <a:ea typeface="+mj-ea"/>
                <a:cs typeface="+mj-cs"/>
              </a:rPr>
              <a:t>Status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1CA377BA-38AA-4474-AA38-E55449310E56}"/>
              </a:ext>
            </a:extLst>
          </p:cNvPr>
          <p:cNvCxnSpPr>
            <a:cxnSpLocks/>
          </p:cNvCxnSpPr>
          <p:nvPr/>
        </p:nvCxnSpPr>
        <p:spPr>
          <a:xfrm>
            <a:off x="2751894" y="2478405"/>
            <a:ext cx="0" cy="1508363"/>
          </a:xfrm>
          <a:prstGeom prst="line">
            <a:avLst/>
          </a:prstGeom>
          <a:ln w="15875">
            <a:solidFill>
              <a:srgbClr val="0069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A84F98CD-E366-4938-983E-4866AFAEA649}"/>
              </a:ext>
            </a:extLst>
          </p:cNvPr>
          <p:cNvCxnSpPr>
            <a:cxnSpLocks/>
          </p:cNvCxnSpPr>
          <p:nvPr/>
        </p:nvCxnSpPr>
        <p:spPr>
          <a:xfrm>
            <a:off x="2751894" y="4275810"/>
            <a:ext cx="1" cy="2911186"/>
          </a:xfrm>
          <a:prstGeom prst="line">
            <a:avLst/>
          </a:prstGeom>
          <a:ln w="15875">
            <a:solidFill>
              <a:srgbClr val="0069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15">
            <a:extLst>
              <a:ext uri="{FF2B5EF4-FFF2-40B4-BE49-F238E27FC236}">
                <a16:creationId xmlns:a16="http://schemas.microsoft.com/office/drawing/2014/main" id="{EF0F8990-5A8A-434C-AE67-1B30761E178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48172" y="2339254"/>
            <a:ext cx="7188860" cy="16486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80989" tIns="80989" rIns="80989" bIns="80989" anchor="t">
            <a:noAutofit/>
          </a:bodyPr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 defTabSz="914400">
              <a:spcAft>
                <a:spcPts val="600"/>
              </a:spcAft>
            </a:pPr>
            <a:r>
              <a:rPr lang="de-DE" sz="1350" b="1" dirty="0">
                <a:solidFill>
                  <a:srgbClr val="006983"/>
                </a:solidFill>
                <a:cs typeface="+mn-cs"/>
              </a:rPr>
              <a:t>Beschreibung Geschäftsfeld/ Business Model</a:t>
            </a:r>
            <a:endParaRPr lang="de-DE" sz="1012" dirty="0"/>
          </a:p>
          <a:p>
            <a:pPr marL="196744" indent="-1967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012" dirty="0" err="1"/>
              <a:t>xxxx</a:t>
            </a:r>
            <a:endParaRPr lang="de-DE" sz="1012" dirty="0"/>
          </a:p>
        </p:txBody>
      </p:sp>
      <p:sp>
        <p:nvSpPr>
          <p:cNvPr id="56" name="Rectangle 15">
            <a:extLst>
              <a:ext uri="{FF2B5EF4-FFF2-40B4-BE49-F238E27FC236}">
                <a16:creationId xmlns:a16="http://schemas.microsoft.com/office/drawing/2014/main" id="{162C81AC-0EBD-4405-9F92-BED36D792FDE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809246" y="4275810"/>
            <a:ext cx="7227785" cy="20244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de-DE" sz="1350" dirty="0">
              <a:solidFill>
                <a:srgbClr val="006983"/>
              </a:solidFill>
            </a:endParaRPr>
          </a:p>
        </p:txBody>
      </p:sp>
      <p:sp>
        <p:nvSpPr>
          <p:cNvPr id="61" name="Rectangle 15">
            <a:extLst>
              <a:ext uri="{FF2B5EF4-FFF2-40B4-BE49-F238E27FC236}">
                <a16:creationId xmlns:a16="http://schemas.microsoft.com/office/drawing/2014/main" id="{6A3E5B88-0193-43A1-B3B2-34F34AA1432D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848174" y="4147794"/>
            <a:ext cx="7188858" cy="16239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80989" tIns="80989" rIns="80989" bIns="80989" anchor="t">
            <a:noAutofit/>
          </a:bodyPr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 defTabSz="914400">
              <a:spcAft>
                <a:spcPts val="600"/>
              </a:spcAft>
            </a:pPr>
            <a:r>
              <a:rPr lang="de-DE" sz="1350" b="1" dirty="0">
                <a:solidFill>
                  <a:srgbClr val="006983"/>
                </a:solidFill>
                <a:cs typeface="+mn-cs"/>
              </a:rPr>
              <a:t>Aktueller Stand/ Kommentare</a:t>
            </a:r>
            <a:endParaRPr lang="de-DE" sz="1012" dirty="0"/>
          </a:p>
          <a:p>
            <a:pPr marL="196744" indent="-196744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012" dirty="0" err="1"/>
              <a:t>xxxxx</a:t>
            </a:r>
            <a:endParaRPr lang="de-DE" sz="1012" dirty="0"/>
          </a:p>
        </p:txBody>
      </p:sp>
      <p:sp>
        <p:nvSpPr>
          <p:cNvPr id="63" name="Rectangle 15">
            <a:extLst>
              <a:ext uri="{FF2B5EF4-FFF2-40B4-BE49-F238E27FC236}">
                <a16:creationId xmlns:a16="http://schemas.microsoft.com/office/drawing/2014/main" id="{62787465-6E75-4482-877E-3873BDB30F62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818243" y="5815198"/>
            <a:ext cx="3469448" cy="13784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80989" tIns="80989" rIns="80989" bIns="80989" anchor="t">
            <a:noAutofit/>
          </a:bodyPr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 defTabSz="914400">
              <a:spcAft>
                <a:spcPts val="600"/>
              </a:spcAft>
            </a:pPr>
            <a:r>
              <a:rPr lang="de-DE" sz="1350" b="1" dirty="0">
                <a:solidFill>
                  <a:srgbClr val="006983"/>
                </a:solidFill>
                <a:cs typeface="+mn-cs"/>
              </a:rPr>
              <a:t>Nächste Schritte Unternehmen</a:t>
            </a:r>
          </a:p>
          <a:p>
            <a:pPr marL="196744" indent="-1967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012" dirty="0" err="1"/>
              <a:t>xxxx</a:t>
            </a:r>
            <a:endParaRPr lang="de-DE" sz="1012" dirty="0"/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315E5B85-B241-4242-8317-E59ECE570C44}"/>
              </a:ext>
            </a:extLst>
          </p:cNvPr>
          <p:cNvCxnSpPr/>
          <p:nvPr/>
        </p:nvCxnSpPr>
        <p:spPr>
          <a:xfrm>
            <a:off x="2818243" y="4131289"/>
            <a:ext cx="7122842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15">
            <a:extLst>
              <a:ext uri="{FF2B5EF4-FFF2-40B4-BE49-F238E27FC236}">
                <a16:creationId xmlns:a16="http://schemas.microsoft.com/office/drawing/2014/main" id="{88C84103-C41B-4916-B85E-1E5481195959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471636" y="5890100"/>
            <a:ext cx="3469448" cy="20244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1350" b="1" dirty="0">
                <a:solidFill>
                  <a:srgbClr val="006983"/>
                </a:solidFill>
              </a:rPr>
              <a:t>Einschätzung Peak Pride</a:t>
            </a:r>
            <a:endParaRPr lang="de-DE" sz="1350" dirty="0">
              <a:solidFill>
                <a:srgbClr val="0069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267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435C103-F950-41C0-ABD7-558297E0C7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1711" y="217933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8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435C103-F950-41C0-ABD7-558297E0C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81711" y="217933"/>
                        <a:ext cx="1496" cy="14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1D370702-2742-45D0-99A3-9C2089099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Xxx</a:t>
            </a:r>
            <a:r>
              <a:rPr lang="de-DE" dirty="0"/>
              <a:t> Investmentanalyse (1/3)</a:t>
            </a:r>
          </a:p>
        </p:txBody>
      </p:sp>
      <p:sp>
        <p:nvSpPr>
          <p:cNvPr id="40" name="3. Unit of measure">
            <a:extLst>
              <a:ext uri="{FF2B5EF4-FFF2-40B4-BE49-F238E27FC236}">
                <a16:creationId xmlns:a16="http://schemas.microsoft.com/office/drawing/2014/main" id="{DC107515-22E3-4F97-9B96-AE3B155914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4124" y="624060"/>
            <a:ext cx="969331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sz="1800" dirty="0">
                <a:solidFill>
                  <a:schemeClr val="accent6"/>
                </a:solidFill>
                <a:latin typeface="+mn-lt"/>
              </a:rPr>
              <a:t>Dezember 2018</a:t>
            </a:r>
          </a:p>
        </p:txBody>
      </p:sp>
      <p:sp>
        <p:nvSpPr>
          <p:cNvPr id="58" name="Rectangle 15">
            <a:extLst>
              <a:ext uri="{FF2B5EF4-FFF2-40B4-BE49-F238E27FC236}">
                <a16:creationId xmlns:a16="http://schemas.microsoft.com/office/drawing/2014/main" id="{34E94868-3132-4908-A149-779DB9DF6D7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307527" y="1024620"/>
            <a:ext cx="620083" cy="15183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lIns="80989" tIns="80989" rIns="80989" bIns="80989" anchor="t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de-DE" sz="1125" dirty="0">
              <a:solidFill>
                <a:schemeClr val="bg1"/>
              </a:solidFill>
            </a:endParaRPr>
          </a:p>
        </p:txBody>
      </p:sp>
      <p:sp>
        <p:nvSpPr>
          <p:cNvPr id="45" name="Rectangle 15">
            <a:extLst>
              <a:ext uri="{FF2B5EF4-FFF2-40B4-BE49-F238E27FC236}">
                <a16:creationId xmlns:a16="http://schemas.microsoft.com/office/drawing/2014/main" id="{45EFF025-8B9C-4B7C-8935-6A789A7EE5F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14123" y="1024623"/>
            <a:ext cx="1575098" cy="1518351"/>
          </a:xfrm>
          <a:prstGeom prst="rect">
            <a:avLst/>
          </a:prstGeom>
          <a:solidFill>
            <a:srgbClr val="006983"/>
          </a:solidFill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de-DE" sz="1350" b="1" dirty="0">
                <a:solidFill>
                  <a:schemeClr val="bg1"/>
                </a:solidFill>
              </a:rPr>
              <a:t>Produkt &amp; USP</a:t>
            </a:r>
            <a:endParaRPr lang="de-DE" sz="1350" dirty="0">
              <a:solidFill>
                <a:schemeClr val="bg1"/>
              </a:solidFill>
            </a:endParaRPr>
          </a:p>
        </p:txBody>
      </p:sp>
      <p:sp>
        <p:nvSpPr>
          <p:cNvPr id="46" name="Rectangle 15">
            <a:extLst>
              <a:ext uri="{FF2B5EF4-FFF2-40B4-BE49-F238E27FC236}">
                <a16:creationId xmlns:a16="http://schemas.microsoft.com/office/drawing/2014/main" id="{6D7FD0D8-165D-4F2F-85D0-362A61C624D4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949376" y="1024620"/>
            <a:ext cx="7269273" cy="15183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92830" indent="-19283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de-DE" sz="1012" dirty="0" err="1"/>
              <a:t>xxxx</a:t>
            </a:r>
            <a:endParaRPr lang="de-DE" sz="1012" dirty="0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750F007-B846-44BF-8ABD-9F0999B23960}"/>
              </a:ext>
            </a:extLst>
          </p:cNvPr>
          <p:cNvGrpSpPr/>
          <p:nvPr/>
        </p:nvGrpSpPr>
        <p:grpSpPr>
          <a:xfrm>
            <a:off x="9457494" y="1414279"/>
            <a:ext cx="299658" cy="747749"/>
            <a:chOff x="8255119" y="2424421"/>
            <a:chExt cx="266433" cy="664840"/>
          </a:xfrm>
        </p:grpSpPr>
        <p:sp>
          <p:nvSpPr>
            <p:cNvPr id="36" name="Freeform 95">
              <a:extLst>
                <a:ext uri="{FF2B5EF4-FFF2-40B4-BE49-F238E27FC236}">
                  <a16:creationId xmlns:a16="http://schemas.microsoft.com/office/drawing/2014/main" id="{463557E3-99AB-42EB-BF00-4FCF2BA2F037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8255119" y="2424421"/>
              <a:ext cx="266433" cy="664840"/>
            </a:xfrm>
            <a:custGeom>
              <a:avLst/>
              <a:gdLst>
                <a:gd name="T0" fmla="*/ 58 w 460"/>
                <a:gd name="T1" fmla="*/ 0 h 1149"/>
                <a:gd name="T2" fmla="*/ 403 w 460"/>
                <a:gd name="T3" fmla="*/ 0 h 1149"/>
                <a:gd name="T4" fmla="*/ 414 w 460"/>
                <a:gd name="T5" fmla="*/ 1 h 1149"/>
                <a:gd name="T6" fmla="*/ 425 w 460"/>
                <a:gd name="T7" fmla="*/ 5 h 1149"/>
                <a:gd name="T8" fmla="*/ 434 w 460"/>
                <a:gd name="T9" fmla="*/ 9 h 1149"/>
                <a:gd name="T10" fmla="*/ 444 w 460"/>
                <a:gd name="T11" fmla="*/ 16 h 1149"/>
                <a:gd name="T12" fmla="*/ 451 w 460"/>
                <a:gd name="T13" fmla="*/ 26 h 1149"/>
                <a:gd name="T14" fmla="*/ 455 w 460"/>
                <a:gd name="T15" fmla="*/ 35 h 1149"/>
                <a:gd name="T16" fmla="*/ 459 w 460"/>
                <a:gd name="T17" fmla="*/ 46 h 1149"/>
                <a:gd name="T18" fmla="*/ 460 w 460"/>
                <a:gd name="T19" fmla="*/ 57 h 1149"/>
                <a:gd name="T20" fmla="*/ 460 w 460"/>
                <a:gd name="T21" fmla="*/ 1092 h 1149"/>
                <a:gd name="T22" fmla="*/ 459 w 460"/>
                <a:gd name="T23" fmla="*/ 1103 h 1149"/>
                <a:gd name="T24" fmla="*/ 455 w 460"/>
                <a:gd name="T25" fmla="*/ 1114 h 1149"/>
                <a:gd name="T26" fmla="*/ 451 w 460"/>
                <a:gd name="T27" fmla="*/ 1123 h 1149"/>
                <a:gd name="T28" fmla="*/ 444 w 460"/>
                <a:gd name="T29" fmla="*/ 1133 h 1149"/>
                <a:gd name="T30" fmla="*/ 434 w 460"/>
                <a:gd name="T31" fmla="*/ 1140 h 1149"/>
                <a:gd name="T32" fmla="*/ 425 w 460"/>
                <a:gd name="T33" fmla="*/ 1144 h 1149"/>
                <a:gd name="T34" fmla="*/ 414 w 460"/>
                <a:gd name="T35" fmla="*/ 1148 h 1149"/>
                <a:gd name="T36" fmla="*/ 403 w 460"/>
                <a:gd name="T37" fmla="*/ 1149 h 1149"/>
                <a:gd name="T38" fmla="*/ 58 w 460"/>
                <a:gd name="T39" fmla="*/ 1149 h 1149"/>
                <a:gd name="T40" fmla="*/ 46 w 460"/>
                <a:gd name="T41" fmla="*/ 1148 h 1149"/>
                <a:gd name="T42" fmla="*/ 36 w 460"/>
                <a:gd name="T43" fmla="*/ 1144 h 1149"/>
                <a:gd name="T44" fmla="*/ 26 w 460"/>
                <a:gd name="T45" fmla="*/ 1140 h 1149"/>
                <a:gd name="T46" fmla="*/ 17 w 460"/>
                <a:gd name="T47" fmla="*/ 1133 h 1149"/>
                <a:gd name="T48" fmla="*/ 10 w 460"/>
                <a:gd name="T49" fmla="*/ 1123 h 1149"/>
                <a:gd name="T50" fmla="*/ 5 w 460"/>
                <a:gd name="T51" fmla="*/ 1114 h 1149"/>
                <a:gd name="T52" fmla="*/ 2 w 460"/>
                <a:gd name="T53" fmla="*/ 1103 h 1149"/>
                <a:gd name="T54" fmla="*/ 0 w 460"/>
                <a:gd name="T55" fmla="*/ 1092 h 1149"/>
                <a:gd name="T56" fmla="*/ 0 w 460"/>
                <a:gd name="T57" fmla="*/ 57 h 1149"/>
                <a:gd name="T58" fmla="*/ 2 w 460"/>
                <a:gd name="T59" fmla="*/ 46 h 1149"/>
                <a:gd name="T60" fmla="*/ 5 w 460"/>
                <a:gd name="T61" fmla="*/ 35 h 1149"/>
                <a:gd name="T62" fmla="*/ 10 w 460"/>
                <a:gd name="T63" fmla="*/ 26 h 1149"/>
                <a:gd name="T64" fmla="*/ 17 w 460"/>
                <a:gd name="T65" fmla="*/ 16 h 1149"/>
                <a:gd name="T66" fmla="*/ 26 w 460"/>
                <a:gd name="T67" fmla="*/ 9 h 1149"/>
                <a:gd name="T68" fmla="*/ 36 w 460"/>
                <a:gd name="T69" fmla="*/ 5 h 1149"/>
                <a:gd name="T70" fmla="*/ 46 w 460"/>
                <a:gd name="T71" fmla="*/ 1 h 1149"/>
                <a:gd name="T72" fmla="*/ 58 w 460"/>
                <a:gd name="T73" fmla="*/ 0 h 1149"/>
                <a:gd name="T74" fmla="*/ 58 w 460"/>
                <a:gd name="T7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60" h="1149">
                  <a:moveTo>
                    <a:pt x="58" y="0"/>
                  </a:moveTo>
                  <a:lnTo>
                    <a:pt x="403" y="0"/>
                  </a:lnTo>
                  <a:lnTo>
                    <a:pt x="414" y="1"/>
                  </a:lnTo>
                  <a:lnTo>
                    <a:pt x="425" y="5"/>
                  </a:lnTo>
                  <a:lnTo>
                    <a:pt x="434" y="9"/>
                  </a:lnTo>
                  <a:lnTo>
                    <a:pt x="444" y="16"/>
                  </a:lnTo>
                  <a:lnTo>
                    <a:pt x="451" y="26"/>
                  </a:lnTo>
                  <a:lnTo>
                    <a:pt x="455" y="35"/>
                  </a:lnTo>
                  <a:lnTo>
                    <a:pt x="459" y="46"/>
                  </a:lnTo>
                  <a:lnTo>
                    <a:pt x="460" y="57"/>
                  </a:lnTo>
                  <a:lnTo>
                    <a:pt x="460" y="1092"/>
                  </a:lnTo>
                  <a:lnTo>
                    <a:pt x="459" y="1103"/>
                  </a:lnTo>
                  <a:lnTo>
                    <a:pt x="455" y="1114"/>
                  </a:lnTo>
                  <a:lnTo>
                    <a:pt x="451" y="1123"/>
                  </a:lnTo>
                  <a:lnTo>
                    <a:pt x="444" y="1133"/>
                  </a:lnTo>
                  <a:lnTo>
                    <a:pt x="434" y="1140"/>
                  </a:lnTo>
                  <a:lnTo>
                    <a:pt x="425" y="1144"/>
                  </a:lnTo>
                  <a:lnTo>
                    <a:pt x="414" y="1148"/>
                  </a:lnTo>
                  <a:lnTo>
                    <a:pt x="403" y="1149"/>
                  </a:lnTo>
                  <a:lnTo>
                    <a:pt x="58" y="1149"/>
                  </a:lnTo>
                  <a:lnTo>
                    <a:pt x="46" y="1148"/>
                  </a:lnTo>
                  <a:lnTo>
                    <a:pt x="36" y="1144"/>
                  </a:lnTo>
                  <a:lnTo>
                    <a:pt x="26" y="1140"/>
                  </a:lnTo>
                  <a:lnTo>
                    <a:pt x="17" y="1133"/>
                  </a:lnTo>
                  <a:lnTo>
                    <a:pt x="10" y="1123"/>
                  </a:lnTo>
                  <a:lnTo>
                    <a:pt x="5" y="1114"/>
                  </a:lnTo>
                  <a:lnTo>
                    <a:pt x="2" y="1103"/>
                  </a:lnTo>
                  <a:lnTo>
                    <a:pt x="0" y="1092"/>
                  </a:lnTo>
                  <a:lnTo>
                    <a:pt x="0" y="57"/>
                  </a:lnTo>
                  <a:lnTo>
                    <a:pt x="2" y="46"/>
                  </a:lnTo>
                  <a:lnTo>
                    <a:pt x="5" y="35"/>
                  </a:lnTo>
                  <a:lnTo>
                    <a:pt x="10" y="26"/>
                  </a:lnTo>
                  <a:lnTo>
                    <a:pt x="17" y="16"/>
                  </a:lnTo>
                  <a:lnTo>
                    <a:pt x="26" y="9"/>
                  </a:lnTo>
                  <a:lnTo>
                    <a:pt x="36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 sz="2065" dirty="0"/>
            </a:p>
          </p:txBody>
        </p:sp>
        <p:sp>
          <p:nvSpPr>
            <p:cNvPr id="38" name="Freeform 103">
              <a:extLst>
                <a:ext uri="{FF2B5EF4-FFF2-40B4-BE49-F238E27FC236}">
                  <a16:creationId xmlns:a16="http://schemas.microsoft.com/office/drawing/2014/main" id="{F75F9794-E8A2-4937-A4D8-B8DE8154887D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8308604" y="2679282"/>
              <a:ext cx="156725" cy="157965"/>
            </a:xfrm>
            <a:custGeom>
              <a:avLst/>
              <a:gdLst>
                <a:gd name="T0" fmla="*/ 0 w 270"/>
                <a:gd name="T1" fmla="*/ 135 h 271"/>
                <a:gd name="T2" fmla="*/ 3 w 270"/>
                <a:gd name="T3" fmla="*/ 108 h 271"/>
                <a:gd name="T4" fmla="*/ 11 w 270"/>
                <a:gd name="T5" fmla="*/ 82 h 271"/>
                <a:gd name="T6" fmla="*/ 24 w 270"/>
                <a:gd name="T7" fmla="*/ 60 h 271"/>
                <a:gd name="T8" fmla="*/ 40 w 270"/>
                <a:gd name="T9" fmla="*/ 40 h 271"/>
                <a:gd name="T10" fmla="*/ 59 w 270"/>
                <a:gd name="T11" fmla="*/ 24 h 271"/>
                <a:gd name="T12" fmla="*/ 82 w 270"/>
                <a:gd name="T13" fmla="*/ 11 h 271"/>
                <a:gd name="T14" fmla="*/ 108 w 270"/>
                <a:gd name="T15" fmla="*/ 3 h 271"/>
                <a:gd name="T16" fmla="*/ 135 w 270"/>
                <a:gd name="T17" fmla="*/ 0 h 271"/>
                <a:gd name="T18" fmla="*/ 162 w 270"/>
                <a:gd name="T19" fmla="*/ 3 h 271"/>
                <a:gd name="T20" fmla="*/ 188 w 270"/>
                <a:gd name="T21" fmla="*/ 11 h 271"/>
                <a:gd name="T22" fmla="*/ 211 w 270"/>
                <a:gd name="T23" fmla="*/ 24 h 271"/>
                <a:gd name="T24" fmla="*/ 231 w 270"/>
                <a:gd name="T25" fmla="*/ 40 h 271"/>
                <a:gd name="T26" fmla="*/ 247 w 270"/>
                <a:gd name="T27" fmla="*/ 60 h 271"/>
                <a:gd name="T28" fmla="*/ 259 w 270"/>
                <a:gd name="T29" fmla="*/ 82 h 271"/>
                <a:gd name="T30" fmla="*/ 268 w 270"/>
                <a:gd name="T31" fmla="*/ 108 h 271"/>
                <a:gd name="T32" fmla="*/ 270 w 270"/>
                <a:gd name="T33" fmla="*/ 135 h 271"/>
                <a:gd name="T34" fmla="*/ 268 w 270"/>
                <a:gd name="T35" fmla="*/ 162 h 271"/>
                <a:gd name="T36" fmla="*/ 259 w 270"/>
                <a:gd name="T37" fmla="*/ 188 h 271"/>
                <a:gd name="T38" fmla="*/ 247 w 270"/>
                <a:gd name="T39" fmla="*/ 211 h 271"/>
                <a:gd name="T40" fmla="*/ 231 w 270"/>
                <a:gd name="T41" fmla="*/ 231 h 271"/>
                <a:gd name="T42" fmla="*/ 211 w 270"/>
                <a:gd name="T43" fmla="*/ 247 h 271"/>
                <a:gd name="T44" fmla="*/ 188 w 270"/>
                <a:gd name="T45" fmla="*/ 260 h 271"/>
                <a:gd name="T46" fmla="*/ 162 w 270"/>
                <a:gd name="T47" fmla="*/ 269 h 271"/>
                <a:gd name="T48" fmla="*/ 135 w 270"/>
                <a:gd name="T49" fmla="*/ 271 h 271"/>
                <a:gd name="T50" fmla="*/ 108 w 270"/>
                <a:gd name="T51" fmla="*/ 269 h 271"/>
                <a:gd name="T52" fmla="*/ 82 w 270"/>
                <a:gd name="T53" fmla="*/ 260 h 271"/>
                <a:gd name="T54" fmla="*/ 59 w 270"/>
                <a:gd name="T55" fmla="*/ 247 h 271"/>
                <a:gd name="T56" fmla="*/ 40 w 270"/>
                <a:gd name="T57" fmla="*/ 231 h 271"/>
                <a:gd name="T58" fmla="*/ 24 w 270"/>
                <a:gd name="T59" fmla="*/ 211 h 271"/>
                <a:gd name="T60" fmla="*/ 11 w 270"/>
                <a:gd name="T61" fmla="*/ 188 h 271"/>
                <a:gd name="T62" fmla="*/ 3 w 270"/>
                <a:gd name="T63" fmla="*/ 162 h 271"/>
                <a:gd name="T64" fmla="*/ 0 w 270"/>
                <a:gd name="T65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0" h="271">
                  <a:moveTo>
                    <a:pt x="0" y="135"/>
                  </a:moveTo>
                  <a:lnTo>
                    <a:pt x="3" y="108"/>
                  </a:lnTo>
                  <a:lnTo>
                    <a:pt x="11" y="82"/>
                  </a:lnTo>
                  <a:lnTo>
                    <a:pt x="24" y="60"/>
                  </a:lnTo>
                  <a:lnTo>
                    <a:pt x="40" y="40"/>
                  </a:lnTo>
                  <a:lnTo>
                    <a:pt x="59" y="24"/>
                  </a:lnTo>
                  <a:lnTo>
                    <a:pt x="82" y="11"/>
                  </a:lnTo>
                  <a:lnTo>
                    <a:pt x="108" y="3"/>
                  </a:lnTo>
                  <a:lnTo>
                    <a:pt x="135" y="0"/>
                  </a:lnTo>
                  <a:lnTo>
                    <a:pt x="162" y="3"/>
                  </a:lnTo>
                  <a:lnTo>
                    <a:pt x="188" y="11"/>
                  </a:lnTo>
                  <a:lnTo>
                    <a:pt x="211" y="24"/>
                  </a:lnTo>
                  <a:lnTo>
                    <a:pt x="231" y="40"/>
                  </a:lnTo>
                  <a:lnTo>
                    <a:pt x="247" y="60"/>
                  </a:lnTo>
                  <a:lnTo>
                    <a:pt x="259" y="82"/>
                  </a:lnTo>
                  <a:lnTo>
                    <a:pt x="268" y="108"/>
                  </a:lnTo>
                  <a:lnTo>
                    <a:pt x="270" y="135"/>
                  </a:lnTo>
                  <a:lnTo>
                    <a:pt x="268" y="162"/>
                  </a:lnTo>
                  <a:lnTo>
                    <a:pt x="259" y="188"/>
                  </a:lnTo>
                  <a:lnTo>
                    <a:pt x="247" y="211"/>
                  </a:lnTo>
                  <a:lnTo>
                    <a:pt x="231" y="231"/>
                  </a:lnTo>
                  <a:lnTo>
                    <a:pt x="211" y="247"/>
                  </a:lnTo>
                  <a:lnTo>
                    <a:pt x="188" y="260"/>
                  </a:lnTo>
                  <a:lnTo>
                    <a:pt x="162" y="269"/>
                  </a:lnTo>
                  <a:lnTo>
                    <a:pt x="135" y="271"/>
                  </a:lnTo>
                  <a:lnTo>
                    <a:pt x="108" y="269"/>
                  </a:lnTo>
                  <a:lnTo>
                    <a:pt x="82" y="260"/>
                  </a:lnTo>
                  <a:lnTo>
                    <a:pt x="59" y="247"/>
                  </a:lnTo>
                  <a:lnTo>
                    <a:pt x="40" y="231"/>
                  </a:lnTo>
                  <a:lnTo>
                    <a:pt x="24" y="211"/>
                  </a:lnTo>
                  <a:lnTo>
                    <a:pt x="11" y="188"/>
                  </a:lnTo>
                  <a:lnTo>
                    <a:pt x="3" y="162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065" dirty="0"/>
            </a:p>
          </p:txBody>
        </p:sp>
      </p:grpSp>
      <p:sp>
        <p:nvSpPr>
          <p:cNvPr id="31" name="Rectangle 15">
            <a:extLst>
              <a:ext uri="{FF2B5EF4-FFF2-40B4-BE49-F238E27FC236}">
                <a16:creationId xmlns:a16="http://schemas.microsoft.com/office/drawing/2014/main" id="{22C381C7-4F2F-432E-A838-C7565D302679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14123" y="2611475"/>
            <a:ext cx="1575098" cy="1518351"/>
          </a:xfrm>
          <a:prstGeom prst="rect">
            <a:avLst/>
          </a:prstGeom>
          <a:solidFill>
            <a:srgbClr val="006983"/>
          </a:solidFill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de-DE" sz="1350" b="1" dirty="0">
                <a:solidFill>
                  <a:schemeClr val="bg1"/>
                </a:solidFill>
              </a:rPr>
              <a:t>Wettbewerb</a:t>
            </a:r>
            <a:endParaRPr lang="de-DE" sz="1350" dirty="0">
              <a:solidFill>
                <a:schemeClr val="bg1"/>
              </a:solidFill>
            </a:endParaRPr>
          </a:p>
        </p:txBody>
      </p:sp>
      <p:sp>
        <p:nvSpPr>
          <p:cNvPr id="32" name="Rectangle 15">
            <a:extLst>
              <a:ext uri="{FF2B5EF4-FFF2-40B4-BE49-F238E27FC236}">
                <a16:creationId xmlns:a16="http://schemas.microsoft.com/office/drawing/2014/main" id="{492B7F4B-97FA-4BEF-977B-C982E1CD2C18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949376" y="2611475"/>
            <a:ext cx="7269273" cy="15183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92830" indent="-19283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de-DE" sz="1012" dirty="0" err="1"/>
              <a:t>xxxx</a:t>
            </a:r>
            <a:endParaRPr lang="de-DE" sz="1012" dirty="0"/>
          </a:p>
        </p:txBody>
      </p:sp>
      <p:sp>
        <p:nvSpPr>
          <p:cNvPr id="27" name="Rectangle 15">
            <a:extLst>
              <a:ext uri="{FF2B5EF4-FFF2-40B4-BE49-F238E27FC236}">
                <a16:creationId xmlns:a16="http://schemas.microsoft.com/office/drawing/2014/main" id="{19D577AF-19C1-4DC3-A3D3-E47CABEAED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9307529" y="2617364"/>
            <a:ext cx="620082" cy="15183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lIns="80989" tIns="80989" rIns="80989" bIns="80989" anchor="t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en-US" sz="1125" dirty="0">
              <a:solidFill>
                <a:schemeClr val="bg1"/>
              </a:solidFill>
            </a:endParaRP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91046075-A438-4DFA-A9D8-1E1772C824C2}"/>
              </a:ext>
            </a:extLst>
          </p:cNvPr>
          <p:cNvGrpSpPr/>
          <p:nvPr/>
        </p:nvGrpSpPr>
        <p:grpSpPr>
          <a:xfrm>
            <a:off x="9457494" y="2999718"/>
            <a:ext cx="299658" cy="747749"/>
            <a:chOff x="8255119" y="2424421"/>
            <a:chExt cx="266433" cy="664840"/>
          </a:xfrm>
        </p:grpSpPr>
        <p:sp>
          <p:nvSpPr>
            <p:cNvPr id="56" name="Freeform 95">
              <a:extLst>
                <a:ext uri="{FF2B5EF4-FFF2-40B4-BE49-F238E27FC236}">
                  <a16:creationId xmlns:a16="http://schemas.microsoft.com/office/drawing/2014/main" id="{225FC775-58EC-47B9-99C4-1D76D85B7BA3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8255119" y="2424421"/>
              <a:ext cx="266433" cy="664840"/>
            </a:xfrm>
            <a:custGeom>
              <a:avLst/>
              <a:gdLst>
                <a:gd name="T0" fmla="*/ 58 w 460"/>
                <a:gd name="T1" fmla="*/ 0 h 1149"/>
                <a:gd name="T2" fmla="*/ 403 w 460"/>
                <a:gd name="T3" fmla="*/ 0 h 1149"/>
                <a:gd name="T4" fmla="*/ 414 w 460"/>
                <a:gd name="T5" fmla="*/ 1 h 1149"/>
                <a:gd name="T6" fmla="*/ 425 w 460"/>
                <a:gd name="T7" fmla="*/ 5 h 1149"/>
                <a:gd name="T8" fmla="*/ 434 w 460"/>
                <a:gd name="T9" fmla="*/ 9 h 1149"/>
                <a:gd name="T10" fmla="*/ 444 w 460"/>
                <a:gd name="T11" fmla="*/ 16 h 1149"/>
                <a:gd name="T12" fmla="*/ 451 w 460"/>
                <a:gd name="T13" fmla="*/ 26 h 1149"/>
                <a:gd name="T14" fmla="*/ 455 w 460"/>
                <a:gd name="T15" fmla="*/ 35 h 1149"/>
                <a:gd name="T16" fmla="*/ 459 w 460"/>
                <a:gd name="T17" fmla="*/ 46 h 1149"/>
                <a:gd name="T18" fmla="*/ 460 w 460"/>
                <a:gd name="T19" fmla="*/ 57 h 1149"/>
                <a:gd name="T20" fmla="*/ 460 w 460"/>
                <a:gd name="T21" fmla="*/ 1092 h 1149"/>
                <a:gd name="T22" fmla="*/ 459 w 460"/>
                <a:gd name="T23" fmla="*/ 1103 h 1149"/>
                <a:gd name="T24" fmla="*/ 455 w 460"/>
                <a:gd name="T25" fmla="*/ 1114 h 1149"/>
                <a:gd name="T26" fmla="*/ 451 w 460"/>
                <a:gd name="T27" fmla="*/ 1123 h 1149"/>
                <a:gd name="T28" fmla="*/ 444 w 460"/>
                <a:gd name="T29" fmla="*/ 1133 h 1149"/>
                <a:gd name="T30" fmla="*/ 434 w 460"/>
                <a:gd name="T31" fmla="*/ 1140 h 1149"/>
                <a:gd name="T32" fmla="*/ 425 w 460"/>
                <a:gd name="T33" fmla="*/ 1144 h 1149"/>
                <a:gd name="T34" fmla="*/ 414 w 460"/>
                <a:gd name="T35" fmla="*/ 1148 h 1149"/>
                <a:gd name="T36" fmla="*/ 403 w 460"/>
                <a:gd name="T37" fmla="*/ 1149 h 1149"/>
                <a:gd name="T38" fmla="*/ 58 w 460"/>
                <a:gd name="T39" fmla="*/ 1149 h 1149"/>
                <a:gd name="T40" fmla="*/ 46 w 460"/>
                <a:gd name="T41" fmla="*/ 1148 h 1149"/>
                <a:gd name="T42" fmla="*/ 36 w 460"/>
                <a:gd name="T43" fmla="*/ 1144 h 1149"/>
                <a:gd name="T44" fmla="*/ 26 w 460"/>
                <a:gd name="T45" fmla="*/ 1140 h 1149"/>
                <a:gd name="T46" fmla="*/ 17 w 460"/>
                <a:gd name="T47" fmla="*/ 1133 h 1149"/>
                <a:gd name="T48" fmla="*/ 10 w 460"/>
                <a:gd name="T49" fmla="*/ 1123 h 1149"/>
                <a:gd name="T50" fmla="*/ 5 w 460"/>
                <a:gd name="T51" fmla="*/ 1114 h 1149"/>
                <a:gd name="T52" fmla="*/ 2 w 460"/>
                <a:gd name="T53" fmla="*/ 1103 h 1149"/>
                <a:gd name="T54" fmla="*/ 0 w 460"/>
                <a:gd name="T55" fmla="*/ 1092 h 1149"/>
                <a:gd name="T56" fmla="*/ 0 w 460"/>
                <a:gd name="T57" fmla="*/ 57 h 1149"/>
                <a:gd name="T58" fmla="*/ 2 w 460"/>
                <a:gd name="T59" fmla="*/ 46 h 1149"/>
                <a:gd name="T60" fmla="*/ 5 w 460"/>
                <a:gd name="T61" fmla="*/ 35 h 1149"/>
                <a:gd name="T62" fmla="*/ 10 w 460"/>
                <a:gd name="T63" fmla="*/ 26 h 1149"/>
                <a:gd name="T64" fmla="*/ 17 w 460"/>
                <a:gd name="T65" fmla="*/ 16 h 1149"/>
                <a:gd name="T66" fmla="*/ 26 w 460"/>
                <a:gd name="T67" fmla="*/ 9 h 1149"/>
                <a:gd name="T68" fmla="*/ 36 w 460"/>
                <a:gd name="T69" fmla="*/ 5 h 1149"/>
                <a:gd name="T70" fmla="*/ 46 w 460"/>
                <a:gd name="T71" fmla="*/ 1 h 1149"/>
                <a:gd name="T72" fmla="*/ 58 w 460"/>
                <a:gd name="T73" fmla="*/ 0 h 1149"/>
                <a:gd name="T74" fmla="*/ 58 w 460"/>
                <a:gd name="T7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60" h="1149">
                  <a:moveTo>
                    <a:pt x="58" y="0"/>
                  </a:moveTo>
                  <a:lnTo>
                    <a:pt x="403" y="0"/>
                  </a:lnTo>
                  <a:lnTo>
                    <a:pt x="414" y="1"/>
                  </a:lnTo>
                  <a:lnTo>
                    <a:pt x="425" y="5"/>
                  </a:lnTo>
                  <a:lnTo>
                    <a:pt x="434" y="9"/>
                  </a:lnTo>
                  <a:lnTo>
                    <a:pt x="444" y="16"/>
                  </a:lnTo>
                  <a:lnTo>
                    <a:pt x="451" y="26"/>
                  </a:lnTo>
                  <a:lnTo>
                    <a:pt x="455" y="35"/>
                  </a:lnTo>
                  <a:lnTo>
                    <a:pt x="459" y="46"/>
                  </a:lnTo>
                  <a:lnTo>
                    <a:pt x="460" y="57"/>
                  </a:lnTo>
                  <a:lnTo>
                    <a:pt x="460" y="1092"/>
                  </a:lnTo>
                  <a:lnTo>
                    <a:pt x="459" y="1103"/>
                  </a:lnTo>
                  <a:lnTo>
                    <a:pt x="455" y="1114"/>
                  </a:lnTo>
                  <a:lnTo>
                    <a:pt x="451" y="1123"/>
                  </a:lnTo>
                  <a:lnTo>
                    <a:pt x="444" y="1133"/>
                  </a:lnTo>
                  <a:lnTo>
                    <a:pt x="434" y="1140"/>
                  </a:lnTo>
                  <a:lnTo>
                    <a:pt x="425" y="1144"/>
                  </a:lnTo>
                  <a:lnTo>
                    <a:pt x="414" y="1148"/>
                  </a:lnTo>
                  <a:lnTo>
                    <a:pt x="403" y="1149"/>
                  </a:lnTo>
                  <a:lnTo>
                    <a:pt x="58" y="1149"/>
                  </a:lnTo>
                  <a:lnTo>
                    <a:pt x="46" y="1148"/>
                  </a:lnTo>
                  <a:lnTo>
                    <a:pt x="36" y="1144"/>
                  </a:lnTo>
                  <a:lnTo>
                    <a:pt x="26" y="1140"/>
                  </a:lnTo>
                  <a:lnTo>
                    <a:pt x="17" y="1133"/>
                  </a:lnTo>
                  <a:lnTo>
                    <a:pt x="10" y="1123"/>
                  </a:lnTo>
                  <a:lnTo>
                    <a:pt x="5" y="1114"/>
                  </a:lnTo>
                  <a:lnTo>
                    <a:pt x="2" y="1103"/>
                  </a:lnTo>
                  <a:lnTo>
                    <a:pt x="0" y="1092"/>
                  </a:lnTo>
                  <a:lnTo>
                    <a:pt x="0" y="57"/>
                  </a:lnTo>
                  <a:lnTo>
                    <a:pt x="2" y="46"/>
                  </a:lnTo>
                  <a:lnTo>
                    <a:pt x="5" y="35"/>
                  </a:lnTo>
                  <a:lnTo>
                    <a:pt x="10" y="26"/>
                  </a:lnTo>
                  <a:lnTo>
                    <a:pt x="17" y="16"/>
                  </a:lnTo>
                  <a:lnTo>
                    <a:pt x="26" y="9"/>
                  </a:lnTo>
                  <a:lnTo>
                    <a:pt x="36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 sz="2065" dirty="0"/>
            </a:p>
          </p:txBody>
        </p:sp>
        <p:sp>
          <p:nvSpPr>
            <p:cNvPr id="57" name="Freeform 103">
              <a:extLst>
                <a:ext uri="{FF2B5EF4-FFF2-40B4-BE49-F238E27FC236}">
                  <a16:creationId xmlns:a16="http://schemas.microsoft.com/office/drawing/2014/main" id="{0A8B464B-1A4C-4C0C-A2C0-B18D3025D849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8308604" y="2470564"/>
              <a:ext cx="156725" cy="157965"/>
            </a:xfrm>
            <a:custGeom>
              <a:avLst/>
              <a:gdLst>
                <a:gd name="T0" fmla="*/ 0 w 270"/>
                <a:gd name="T1" fmla="*/ 135 h 271"/>
                <a:gd name="T2" fmla="*/ 3 w 270"/>
                <a:gd name="T3" fmla="*/ 108 h 271"/>
                <a:gd name="T4" fmla="*/ 11 w 270"/>
                <a:gd name="T5" fmla="*/ 82 h 271"/>
                <a:gd name="T6" fmla="*/ 24 w 270"/>
                <a:gd name="T7" fmla="*/ 60 h 271"/>
                <a:gd name="T8" fmla="*/ 40 w 270"/>
                <a:gd name="T9" fmla="*/ 40 h 271"/>
                <a:gd name="T10" fmla="*/ 59 w 270"/>
                <a:gd name="T11" fmla="*/ 24 h 271"/>
                <a:gd name="T12" fmla="*/ 82 w 270"/>
                <a:gd name="T13" fmla="*/ 11 h 271"/>
                <a:gd name="T14" fmla="*/ 108 w 270"/>
                <a:gd name="T15" fmla="*/ 3 h 271"/>
                <a:gd name="T16" fmla="*/ 135 w 270"/>
                <a:gd name="T17" fmla="*/ 0 h 271"/>
                <a:gd name="T18" fmla="*/ 162 w 270"/>
                <a:gd name="T19" fmla="*/ 3 h 271"/>
                <a:gd name="T20" fmla="*/ 188 w 270"/>
                <a:gd name="T21" fmla="*/ 11 h 271"/>
                <a:gd name="T22" fmla="*/ 211 w 270"/>
                <a:gd name="T23" fmla="*/ 24 h 271"/>
                <a:gd name="T24" fmla="*/ 231 w 270"/>
                <a:gd name="T25" fmla="*/ 40 h 271"/>
                <a:gd name="T26" fmla="*/ 247 w 270"/>
                <a:gd name="T27" fmla="*/ 60 h 271"/>
                <a:gd name="T28" fmla="*/ 259 w 270"/>
                <a:gd name="T29" fmla="*/ 82 h 271"/>
                <a:gd name="T30" fmla="*/ 268 w 270"/>
                <a:gd name="T31" fmla="*/ 108 h 271"/>
                <a:gd name="T32" fmla="*/ 270 w 270"/>
                <a:gd name="T33" fmla="*/ 135 h 271"/>
                <a:gd name="T34" fmla="*/ 268 w 270"/>
                <a:gd name="T35" fmla="*/ 162 h 271"/>
                <a:gd name="T36" fmla="*/ 259 w 270"/>
                <a:gd name="T37" fmla="*/ 188 h 271"/>
                <a:gd name="T38" fmla="*/ 247 w 270"/>
                <a:gd name="T39" fmla="*/ 211 h 271"/>
                <a:gd name="T40" fmla="*/ 231 w 270"/>
                <a:gd name="T41" fmla="*/ 231 h 271"/>
                <a:gd name="T42" fmla="*/ 211 w 270"/>
                <a:gd name="T43" fmla="*/ 247 h 271"/>
                <a:gd name="T44" fmla="*/ 188 w 270"/>
                <a:gd name="T45" fmla="*/ 260 h 271"/>
                <a:gd name="T46" fmla="*/ 162 w 270"/>
                <a:gd name="T47" fmla="*/ 269 h 271"/>
                <a:gd name="T48" fmla="*/ 135 w 270"/>
                <a:gd name="T49" fmla="*/ 271 h 271"/>
                <a:gd name="T50" fmla="*/ 108 w 270"/>
                <a:gd name="T51" fmla="*/ 269 h 271"/>
                <a:gd name="T52" fmla="*/ 82 w 270"/>
                <a:gd name="T53" fmla="*/ 260 h 271"/>
                <a:gd name="T54" fmla="*/ 59 w 270"/>
                <a:gd name="T55" fmla="*/ 247 h 271"/>
                <a:gd name="T56" fmla="*/ 40 w 270"/>
                <a:gd name="T57" fmla="*/ 231 h 271"/>
                <a:gd name="T58" fmla="*/ 24 w 270"/>
                <a:gd name="T59" fmla="*/ 211 h 271"/>
                <a:gd name="T60" fmla="*/ 11 w 270"/>
                <a:gd name="T61" fmla="*/ 188 h 271"/>
                <a:gd name="T62" fmla="*/ 3 w 270"/>
                <a:gd name="T63" fmla="*/ 162 h 271"/>
                <a:gd name="T64" fmla="*/ 0 w 270"/>
                <a:gd name="T65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0" h="271">
                  <a:moveTo>
                    <a:pt x="0" y="135"/>
                  </a:moveTo>
                  <a:lnTo>
                    <a:pt x="3" y="108"/>
                  </a:lnTo>
                  <a:lnTo>
                    <a:pt x="11" y="82"/>
                  </a:lnTo>
                  <a:lnTo>
                    <a:pt x="24" y="60"/>
                  </a:lnTo>
                  <a:lnTo>
                    <a:pt x="40" y="40"/>
                  </a:lnTo>
                  <a:lnTo>
                    <a:pt x="59" y="24"/>
                  </a:lnTo>
                  <a:lnTo>
                    <a:pt x="82" y="11"/>
                  </a:lnTo>
                  <a:lnTo>
                    <a:pt x="108" y="3"/>
                  </a:lnTo>
                  <a:lnTo>
                    <a:pt x="135" y="0"/>
                  </a:lnTo>
                  <a:lnTo>
                    <a:pt x="162" y="3"/>
                  </a:lnTo>
                  <a:lnTo>
                    <a:pt x="188" y="11"/>
                  </a:lnTo>
                  <a:lnTo>
                    <a:pt x="211" y="24"/>
                  </a:lnTo>
                  <a:lnTo>
                    <a:pt x="231" y="40"/>
                  </a:lnTo>
                  <a:lnTo>
                    <a:pt x="247" y="60"/>
                  </a:lnTo>
                  <a:lnTo>
                    <a:pt x="259" y="82"/>
                  </a:lnTo>
                  <a:lnTo>
                    <a:pt x="268" y="108"/>
                  </a:lnTo>
                  <a:lnTo>
                    <a:pt x="270" y="135"/>
                  </a:lnTo>
                  <a:lnTo>
                    <a:pt x="268" y="162"/>
                  </a:lnTo>
                  <a:lnTo>
                    <a:pt x="259" y="188"/>
                  </a:lnTo>
                  <a:lnTo>
                    <a:pt x="247" y="211"/>
                  </a:lnTo>
                  <a:lnTo>
                    <a:pt x="231" y="231"/>
                  </a:lnTo>
                  <a:lnTo>
                    <a:pt x="211" y="247"/>
                  </a:lnTo>
                  <a:lnTo>
                    <a:pt x="188" y="260"/>
                  </a:lnTo>
                  <a:lnTo>
                    <a:pt x="162" y="269"/>
                  </a:lnTo>
                  <a:lnTo>
                    <a:pt x="135" y="271"/>
                  </a:lnTo>
                  <a:lnTo>
                    <a:pt x="108" y="269"/>
                  </a:lnTo>
                  <a:lnTo>
                    <a:pt x="82" y="260"/>
                  </a:lnTo>
                  <a:lnTo>
                    <a:pt x="59" y="247"/>
                  </a:lnTo>
                  <a:lnTo>
                    <a:pt x="40" y="231"/>
                  </a:lnTo>
                  <a:lnTo>
                    <a:pt x="24" y="211"/>
                  </a:lnTo>
                  <a:lnTo>
                    <a:pt x="11" y="188"/>
                  </a:lnTo>
                  <a:lnTo>
                    <a:pt x="3" y="162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/>
            <a:lstStyle/>
            <a:p>
              <a:endParaRPr lang="en-US" sz="2065" dirty="0"/>
            </a:p>
          </p:txBody>
        </p:sp>
      </p:grpSp>
      <p:sp>
        <p:nvSpPr>
          <p:cNvPr id="51" name="Rectangle 15">
            <a:extLst>
              <a:ext uri="{FF2B5EF4-FFF2-40B4-BE49-F238E27FC236}">
                <a16:creationId xmlns:a16="http://schemas.microsoft.com/office/drawing/2014/main" id="{E374893C-93B2-4457-9720-91103AE09D16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14123" y="4210108"/>
            <a:ext cx="1575098" cy="1127157"/>
          </a:xfrm>
          <a:prstGeom prst="rect">
            <a:avLst/>
          </a:prstGeom>
          <a:solidFill>
            <a:srgbClr val="006983"/>
          </a:solidFill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de-DE" sz="1350" b="1" dirty="0" err="1">
                <a:solidFill>
                  <a:schemeClr val="bg1"/>
                </a:solidFill>
              </a:rPr>
              <a:t>Traction</a:t>
            </a:r>
            <a:r>
              <a:rPr lang="de-DE" sz="1350" b="1" dirty="0">
                <a:solidFill>
                  <a:schemeClr val="bg1"/>
                </a:solidFill>
              </a:rPr>
              <a:t> / Stage</a:t>
            </a:r>
            <a:endParaRPr lang="de-DE" sz="1350" dirty="0">
              <a:solidFill>
                <a:schemeClr val="bg1"/>
              </a:solidFill>
            </a:endParaRPr>
          </a:p>
        </p:txBody>
      </p:sp>
      <p:sp>
        <p:nvSpPr>
          <p:cNvPr id="52" name="Rectangle 15">
            <a:extLst>
              <a:ext uri="{FF2B5EF4-FFF2-40B4-BE49-F238E27FC236}">
                <a16:creationId xmlns:a16="http://schemas.microsoft.com/office/drawing/2014/main" id="{D7ECA42A-EC56-4CFA-925D-DAF569673995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949376" y="4210108"/>
            <a:ext cx="7269273" cy="11271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92830" indent="-19283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de-DE" sz="1012" dirty="0" err="1"/>
              <a:t>xxxxx</a:t>
            </a:r>
            <a:endParaRPr lang="de-DE" sz="1012" dirty="0"/>
          </a:p>
        </p:txBody>
      </p:sp>
      <p:sp>
        <p:nvSpPr>
          <p:cNvPr id="60" name="Rectangle 15">
            <a:extLst>
              <a:ext uri="{FF2B5EF4-FFF2-40B4-BE49-F238E27FC236}">
                <a16:creationId xmlns:a16="http://schemas.microsoft.com/office/drawing/2014/main" id="{7D22D415-E89A-4F87-992C-02C9325273D4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9307529" y="4204215"/>
            <a:ext cx="620082" cy="11271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lIns="80989" tIns="80989" rIns="80989" bIns="80989" anchor="t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de-DE" sz="1125" dirty="0">
              <a:solidFill>
                <a:schemeClr val="bg1"/>
              </a:solidFill>
            </a:endParaRPr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17B2C180-CA82-458F-9ACF-770BBF1EE5A2}"/>
              </a:ext>
            </a:extLst>
          </p:cNvPr>
          <p:cNvGrpSpPr/>
          <p:nvPr/>
        </p:nvGrpSpPr>
        <p:grpSpPr>
          <a:xfrm>
            <a:off x="9457494" y="4393919"/>
            <a:ext cx="299658" cy="747749"/>
            <a:chOff x="8255119" y="2424421"/>
            <a:chExt cx="266433" cy="664840"/>
          </a:xfrm>
        </p:grpSpPr>
        <p:sp>
          <p:nvSpPr>
            <p:cNvPr id="63" name="Freeform 95">
              <a:extLst>
                <a:ext uri="{FF2B5EF4-FFF2-40B4-BE49-F238E27FC236}">
                  <a16:creationId xmlns:a16="http://schemas.microsoft.com/office/drawing/2014/main" id="{E8E666B3-0DE2-4D88-AD92-B48EFAD0CDA7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8255119" y="2424421"/>
              <a:ext cx="266433" cy="664840"/>
            </a:xfrm>
            <a:custGeom>
              <a:avLst/>
              <a:gdLst>
                <a:gd name="T0" fmla="*/ 58 w 460"/>
                <a:gd name="T1" fmla="*/ 0 h 1149"/>
                <a:gd name="T2" fmla="*/ 403 w 460"/>
                <a:gd name="T3" fmla="*/ 0 h 1149"/>
                <a:gd name="T4" fmla="*/ 414 w 460"/>
                <a:gd name="T5" fmla="*/ 1 h 1149"/>
                <a:gd name="T6" fmla="*/ 425 w 460"/>
                <a:gd name="T7" fmla="*/ 5 h 1149"/>
                <a:gd name="T8" fmla="*/ 434 w 460"/>
                <a:gd name="T9" fmla="*/ 9 h 1149"/>
                <a:gd name="T10" fmla="*/ 444 w 460"/>
                <a:gd name="T11" fmla="*/ 16 h 1149"/>
                <a:gd name="T12" fmla="*/ 451 w 460"/>
                <a:gd name="T13" fmla="*/ 26 h 1149"/>
                <a:gd name="T14" fmla="*/ 455 w 460"/>
                <a:gd name="T15" fmla="*/ 35 h 1149"/>
                <a:gd name="T16" fmla="*/ 459 w 460"/>
                <a:gd name="T17" fmla="*/ 46 h 1149"/>
                <a:gd name="T18" fmla="*/ 460 w 460"/>
                <a:gd name="T19" fmla="*/ 57 h 1149"/>
                <a:gd name="T20" fmla="*/ 460 w 460"/>
                <a:gd name="T21" fmla="*/ 1092 h 1149"/>
                <a:gd name="T22" fmla="*/ 459 w 460"/>
                <a:gd name="T23" fmla="*/ 1103 h 1149"/>
                <a:gd name="T24" fmla="*/ 455 w 460"/>
                <a:gd name="T25" fmla="*/ 1114 h 1149"/>
                <a:gd name="T26" fmla="*/ 451 w 460"/>
                <a:gd name="T27" fmla="*/ 1123 h 1149"/>
                <a:gd name="T28" fmla="*/ 444 w 460"/>
                <a:gd name="T29" fmla="*/ 1133 h 1149"/>
                <a:gd name="T30" fmla="*/ 434 w 460"/>
                <a:gd name="T31" fmla="*/ 1140 h 1149"/>
                <a:gd name="T32" fmla="*/ 425 w 460"/>
                <a:gd name="T33" fmla="*/ 1144 h 1149"/>
                <a:gd name="T34" fmla="*/ 414 w 460"/>
                <a:gd name="T35" fmla="*/ 1148 h 1149"/>
                <a:gd name="T36" fmla="*/ 403 w 460"/>
                <a:gd name="T37" fmla="*/ 1149 h 1149"/>
                <a:gd name="T38" fmla="*/ 58 w 460"/>
                <a:gd name="T39" fmla="*/ 1149 h 1149"/>
                <a:gd name="T40" fmla="*/ 46 w 460"/>
                <a:gd name="T41" fmla="*/ 1148 h 1149"/>
                <a:gd name="T42" fmla="*/ 36 w 460"/>
                <a:gd name="T43" fmla="*/ 1144 h 1149"/>
                <a:gd name="T44" fmla="*/ 26 w 460"/>
                <a:gd name="T45" fmla="*/ 1140 h 1149"/>
                <a:gd name="T46" fmla="*/ 17 w 460"/>
                <a:gd name="T47" fmla="*/ 1133 h 1149"/>
                <a:gd name="T48" fmla="*/ 10 w 460"/>
                <a:gd name="T49" fmla="*/ 1123 h 1149"/>
                <a:gd name="T50" fmla="*/ 5 w 460"/>
                <a:gd name="T51" fmla="*/ 1114 h 1149"/>
                <a:gd name="T52" fmla="*/ 2 w 460"/>
                <a:gd name="T53" fmla="*/ 1103 h 1149"/>
                <a:gd name="T54" fmla="*/ 0 w 460"/>
                <a:gd name="T55" fmla="*/ 1092 h 1149"/>
                <a:gd name="T56" fmla="*/ 0 w 460"/>
                <a:gd name="T57" fmla="*/ 57 h 1149"/>
                <a:gd name="T58" fmla="*/ 2 w 460"/>
                <a:gd name="T59" fmla="*/ 46 h 1149"/>
                <a:gd name="T60" fmla="*/ 5 w 460"/>
                <a:gd name="T61" fmla="*/ 35 h 1149"/>
                <a:gd name="T62" fmla="*/ 10 w 460"/>
                <a:gd name="T63" fmla="*/ 26 h 1149"/>
                <a:gd name="T64" fmla="*/ 17 w 460"/>
                <a:gd name="T65" fmla="*/ 16 h 1149"/>
                <a:gd name="T66" fmla="*/ 26 w 460"/>
                <a:gd name="T67" fmla="*/ 9 h 1149"/>
                <a:gd name="T68" fmla="*/ 36 w 460"/>
                <a:gd name="T69" fmla="*/ 5 h 1149"/>
                <a:gd name="T70" fmla="*/ 46 w 460"/>
                <a:gd name="T71" fmla="*/ 1 h 1149"/>
                <a:gd name="T72" fmla="*/ 58 w 460"/>
                <a:gd name="T73" fmla="*/ 0 h 1149"/>
                <a:gd name="T74" fmla="*/ 58 w 460"/>
                <a:gd name="T7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60" h="1149">
                  <a:moveTo>
                    <a:pt x="58" y="0"/>
                  </a:moveTo>
                  <a:lnTo>
                    <a:pt x="403" y="0"/>
                  </a:lnTo>
                  <a:lnTo>
                    <a:pt x="414" y="1"/>
                  </a:lnTo>
                  <a:lnTo>
                    <a:pt x="425" y="5"/>
                  </a:lnTo>
                  <a:lnTo>
                    <a:pt x="434" y="9"/>
                  </a:lnTo>
                  <a:lnTo>
                    <a:pt x="444" y="16"/>
                  </a:lnTo>
                  <a:lnTo>
                    <a:pt x="451" y="26"/>
                  </a:lnTo>
                  <a:lnTo>
                    <a:pt x="455" y="35"/>
                  </a:lnTo>
                  <a:lnTo>
                    <a:pt x="459" y="46"/>
                  </a:lnTo>
                  <a:lnTo>
                    <a:pt x="460" y="57"/>
                  </a:lnTo>
                  <a:lnTo>
                    <a:pt x="460" y="1092"/>
                  </a:lnTo>
                  <a:lnTo>
                    <a:pt x="459" y="1103"/>
                  </a:lnTo>
                  <a:lnTo>
                    <a:pt x="455" y="1114"/>
                  </a:lnTo>
                  <a:lnTo>
                    <a:pt x="451" y="1123"/>
                  </a:lnTo>
                  <a:lnTo>
                    <a:pt x="444" y="1133"/>
                  </a:lnTo>
                  <a:lnTo>
                    <a:pt x="434" y="1140"/>
                  </a:lnTo>
                  <a:lnTo>
                    <a:pt x="425" y="1144"/>
                  </a:lnTo>
                  <a:lnTo>
                    <a:pt x="414" y="1148"/>
                  </a:lnTo>
                  <a:lnTo>
                    <a:pt x="403" y="1149"/>
                  </a:lnTo>
                  <a:lnTo>
                    <a:pt x="58" y="1149"/>
                  </a:lnTo>
                  <a:lnTo>
                    <a:pt x="46" y="1148"/>
                  </a:lnTo>
                  <a:lnTo>
                    <a:pt x="36" y="1144"/>
                  </a:lnTo>
                  <a:lnTo>
                    <a:pt x="26" y="1140"/>
                  </a:lnTo>
                  <a:lnTo>
                    <a:pt x="17" y="1133"/>
                  </a:lnTo>
                  <a:lnTo>
                    <a:pt x="10" y="1123"/>
                  </a:lnTo>
                  <a:lnTo>
                    <a:pt x="5" y="1114"/>
                  </a:lnTo>
                  <a:lnTo>
                    <a:pt x="2" y="1103"/>
                  </a:lnTo>
                  <a:lnTo>
                    <a:pt x="0" y="1092"/>
                  </a:lnTo>
                  <a:lnTo>
                    <a:pt x="0" y="57"/>
                  </a:lnTo>
                  <a:lnTo>
                    <a:pt x="2" y="46"/>
                  </a:lnTo>
                  <a:lnTo>
                    <a:pt x="5" y="35"/>
                  </a:lnTo>
                  <a:lnTo>
                    <a:pt x="10" y="26"/>
                  </a:lnTo>
                  <a:lnTo>
                    <a:pt x="17" y="16"/>
                  </a:lnTo>
                  <a:lnTo>
                    <a:pt x="26" y="9"/>
                  </a:lnTo>
                  <a:lnTo>
                    <a:pt x="36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 sz="2065" dirty="0"/>
            </a:p>
          </p:txBody>
        </p:sp>
        <p:sp>
          <p:nvSpPr>
            <p:cNvPr id="65" name="Freeform 103">
              <a:extLst>
                <a:ext uri="{FF2B5EF4-FFF2-40B4-BE49-F238E27FC236}">
                  <a16:creationId xmlns:a16="http://schemas.microsoft.com/office/drawing/2014/main" id="{70597C33-2534-4581-9877-86BFFC0309F0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8308604" y="2679282"/>
              <a:ext cx="156725" cy="157965"/>
            </a:xfrm>
            <a:custGeom>
              <a:avLst/>
              <a:gdLst>
                <a:gd name="T0" fmla="*/ 0 w 270"/>
                <a:gd name="T1" fmla="*/ 135 h 271"/>
                <a:gd name="T2" fmla="*/ 3 w 270"/>
                <a:gd name="T3" fmla="*/ 108 h 271"/>
                <a:gd name="T4" fmla="*/ 11 w 270"/>
                <a:gd name="T5" fmla="*/ 82 h 271"/>
                <a:gd name="T6" fmla="*/ 24 w 270"/>
                <a:gd name="T7" fmla="*/ 60 h 271"/>
                <a:gd name="T8" fmla="*/ 40 w 270"/>
                <a:gd name="T9" fmla="*/ 40 h 271"/>
                <a:gd name="T10" fmla="*/ 59 w 270"/>
                <a:gd name="T11" fmla="*/ 24 h 271"/>
                <a:gd name="T12" fmla="*/ 82 w 270"/>
                <a:gd name="T13" fmla="*/ 11 h 271"/>
                <a:gd name="T14" fmla="*/ 108 w 270"/>
                <a:gd name="T15" fmla="*/ 3 h 271"/>
                <a:gd name="T16" fmla="*/ 135 w 270"/>
                <a:gd name="T17" fmla="*/ 0 h 271"/>
                <a:gd name="T18" fmla="*/ 162 w 270"/>
                <a:gd name="T19" fmla="*/ 3 h 271"/>
                <a:gd name="T20" fmla="*/ 188 w 270"/>
                <a:gd name="T21" fmla="*/ 11 h 271"/>
                <a:gd name="T22" fmla="*/ 211 w 270"/>
                <a:gd name="T23" fmla="*/ 24 h 271"/>
                <a:gd name="T24" fmla="*/ 231 w 270"/>
                <a:gd name="T25" fmla="*/ 40 h 271"/>
                <a:gd name="T26" fmla="*/ 247 w 270"/>
                <a:gd name="T27" fmla="*/ 60 h 271"/>
                <a:gd name="T28" fmla="*/ 259 w 270"/>
                <a:gd name="T29" fmla="*/ 82 h 271"/>
                <a:gd name="T30" fmla="*/ 268 w 270"/>
                <a:gd name="T31" fmla="*/ 108 h 271"/>
                <a:gd name="T32" fmla="*/ 270 w 270"/>
                <a:gd name="T33" fmla="*/ 135 h 271"/>
                <a:gd name="T34" fmla="*/ 268 w 270"/>
                <a:gd name="T35" fmla="*/ 162 h 271"/>
                <a:gd name="T36" fmla="*/ 259 w 270"/>
                <a:gd name="T37" fmla="*/ 188 h 271"/>
                <a:gd name="T38" fmla="*/ 247 w 270"/>
                <a:gd name="T39" fmla="*/ 211 h 271"/>
                <a:gd name="T40" fmla="*/ 231 w 270"/>
                <a:gd name="T41" fmla="*/ 231 h 271"/>
                <a:gd name="T42" fmla="*/ 211 w 270"/>
                <a:gd name="T43" fmla="*/ 247 h 271"/>
                <a:gd name="T44" fmla="*/ 188 w 270"/>
                <a:gd name="T45" fmla="*/ 260 h 271"/>
                <a:gd name="T46" fmla="*/ 162 w 270"/>
                <a:gd name="T47" fmla="*/ 269 h 271"/>
                <a:gd name="T48" fmla="*/ 135 w 270"/>
                <a:gd name="T49" fmla="*/ 271 h 271"/>
                <a:gd name="T50" fmla="*/ 108 w 270"/>
                <a:gd name="T51" fmla="*/ 269 h 271"/>
                <a:gd name="T52" fmla="*/ 82 w 270"/>
                <a:gd name="T53" fmla="*/ 260 h 271"/>
                <a:gd name="T54" fmla="*/ 59 w 270"/>
                <a:gd name="T55" fmla="*/ 247 h 271"/>
                <a:gd name="T56" fmla="*/ 40 w 270"/>
                <a:gd name="T57" fmla="*/ 231 h 271"/>
                <a:gd name="T58" fmla="*/ 24 w 270"/>
                <a:gd name="T59" fmla="*/ 211 h 271"/>
                <a:gd name="T60" fmla="*/ 11 w 270"/>
                <a:gd name="T61" fmla="*/ 188 h 271"/>
                <a:gd name="T62" fmla="*/ 3 w 270"/>
                <a:gd name="T63" fmla="*/ 162 h 271"/>
                <a:gd name="T64" fmla="*/ 0 w 270"/>
                <a:gd name="T65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0" h="271">
                  <a:moveTo>
                    <a:pt x="0" y="135"/>
                  </a:moveTo>
                  <a:lnTo>
                    <a:pt x="3" y="108"/>
                  </a:lnTo>
                  <a:lnTo>
                    <a:pt x="11" y="82"/>
                  </a:lnTo>
                  <a:lnTo>
                    <a:pt x="24" y="60"/>
                  </a:lnTo>
                  <a:lnTo>
                    <a:pt x="40" y="40"/>
                  </a:lnTo>
                  <a:lnTo>
                    <a:pt x="59" y="24"/>
                  </a:lnTo>
                  <a:lnTo>
                    <a:pt x="82" y="11"/>
                  </a:lnTo>
                  <a:lnTo>
                    <a:pt x="108" y="3"/>
                  </a:lnTo>
                  <a:lnTo>
                    <a:pt x="135" y="0"/>
                  </a:lnTo>
                  <a:lnTo>
                    <a:pt x="162" y="3"/>
                  </a:lnTo>
                  <a:lnTo>
                    <a:pt x="188" y="11"/>
                  </a:lnTo>
                  <a:lnTo>
                    <a:pt x="211" y="24"/>
                  </a:lnTo>
                  <a:lnTo>
                    <a:pt x="231" y="40"/>
                  </a:lnTo>
                  <a:lnTo>
                    <a:pt x="247" y="60"/>
                  </a:lnTo>
                  <a:lnTo>
                    <a:pt x="259" y="82"/>
                  </a:lnTo>
                  <a:lnTo>
                    <a:pt x="268" y="108"/>
                  </a:lnTo>
                  <a:lnTo>
                    <a:pt x="270" y="135"/>
                  </a:lnTo>
                  <a:lnTo>
                    <a:pt x="268" y="162"/>
                  </a:lnTo>
                  <a:lnTo>
                    <a:pt x="259" y="188"/>
                  </a:lnTo>
                  <a:lnTo>
                    <a:pt x="247" y="211"/>
                  </a:lnTo>
                  <a:lnTo>
                    <a:pt x="231" y="231"/>
                  </a:lnTo>
                  <a:lnTo>
                    <a:pt x="211" y="247"/>
                  </a:lnTo>
                  <a:lnTo>
                    <a:pt x="188" y="260"/>
                  </a:lnTo>
                  <a:lnTo>
                    <a:pt x="162" y="269"/>
                  </a:lnTo>
                  <a:lnTo>
                    <a:pt x="135" y="271"/>
                  </a:lnTo>
                  <a:lnTo>
                    <a:pt x="108" y="269"/>
                  </a:lnTo>
                  <a:lnTo>
                    <a:pt x="82" y="260"/>
                  </a:lnTo>
                  <a:lnTo>
                    <a:pt x="59" y="247"/>
                  </a:lnTo>
                  <a:lnTo>
                    <a:pt x="40" y="231"/>
                  </a:lnTo>
                  <a:lnTo>
                    <a:pt x="24" y="211"/>
                  </a:lnTo>
                  <a:lnTo>
                    <a:pt x="11" y="188"/>
                  </a:lnTo>
                  <a:lnTo>
                    <a:pt x="3" y="162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065" dirty="0"/>
            </a:p>
          </p:txBody>
        </p:sp>
      </p:grpSp>
      <p:sp>
        <p:nvSpPr>
          <p:cNvPr id="30" name="Rectangle 15">
            <a:extLst>
              <a:ext uri="{FF2B5EF4-FFF2-40B4-BE49-F238E27FC236}">
                <a16:creationId xmlns:a16="http://schemas.microsoft.com/office/drawing/2014/main" id="{C67F1B13-C74A-4ACA-B2ED-3E2A76566BA6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14123" y="5431719"/>
            <a:ext cx="1575098" cy="1138657"/>
          </a:xfrm>
          <a:prstGeom prst="rect">
            <a:avLst/>
          </a:prstGeom>
          <a:solidFill>
            <a:srgbClr val="006983"/>
          </a:solidFill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de-DE" sz="1350" b="1" dirty="0">
                <a:solidFill>
                  <a:schemeClr val="bg1"/>
                </a:solidFill>
              </a:rPr>
              <a:t>Team</a:t>
            </a:r>
            <a:endParaRPr lang="de-DE" sz="1350" dirty="0">
              <a:solidFill>
                <a:schemeClr val="bg1"/>
              </a:solidFill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9A998246-AB7D-4E82-99EF-329C661BDEE4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949376" y="5431719"/>
            <a:ext cx="7269273" cy="11386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lIns="80989" tIns="80989" rIns="80989" bIns="80989" anchor="ctr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92830" indent="-19283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de-DE" sz="1012" dirty="0" err="1"/>
              <a:t>xxxx</a:t>
            </a:r>
            <a:endParaRPr lang="de-DE" sz="1012" dirty="0"/>
          </a:p>
        </p:txBody>
      </p:sp>
      <p:sp>
        <p:nvSpPr>
          <p:cNvPr id="35" name="Rectangle 15">
            <a:extLst>
              <a:ext uri="{FF2B5EF4-FFF2-40B4-BE49-F238E27FC236}">
                <a16:creationId xmlns:a16="http://schemas.microsoft.com/office/drawing/2014/main" id="{DC12F0FF-9DB7-44C6-B36D-04A409E05A1D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9307529" y="5431719"/>
            <a:ext cx="620082" cy="11386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lIns="80989" tIns="80989" rIns="80989" bIns="80989" anchor="t"/>
          <a:lstStyle>
            <a:lvl1pPr algn="l" defTabSz="895350"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algn="l" defTabSz="895350">
              <a:spcAft>
                <a:spcPct val="0"/>
              </a:spcAft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261938" algn="l" defTabSz="895350">
              <a:spcAft>
                <a:spcPct val="0"/>
              </a:spcAft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614363" indent="-155575" algn="l" defTabSz="895350">
              <a:spcAft>
                <a:spcPct val="0"/>
              </a:spcAft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46125" indent="-130175" algn="l" defTabSz="895350">
              <a:spcAft>
                <a:spcPct val="0"/>
              </a:spcAft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de-DE" sz="1125" dirty="0">
              <a:solidFill>
                <a:schemeClr val="bg1"/>
              </a:solidFill>
            </a:endParaRPr>
          </a:p>
        </p:txBody>
      </p: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9D68F4AD-2E34-4DA7-A979-B41527F272C1}"/>
              </a:ext>
            </a:extLst>
          </p:cNvPr>
          <p:cNvGrpSpPr/>
          <p:nvPr/>
        </p:nvGrpSpPr>
        <p:grpSpPr>
          <a:xfrm>
            <a:off x="9457494" y="5627172"/>
            <a:ext cx="299658" cy="747749"/>
            <a:chOff x="8255119" y="2424421"/>
            <a:chExt cx="266433" cy="664840"/>
          </a:xfrm>
        </p:grpSpPr>
        <p:sp>
          <p:nvSpPr>
            <p:cNvPr id="68" name="Freeform 95">
              <a:extLst>
                <a:ext uri="{FF2B5EF4-FFF2-40B4-BE49-F238E27FC236}">
                  <a16:creationId xmlns:a16="http://schemas.microsoft.com/office/drawing/2014/main" id="{86173DE4-1575-4220-ABA1-68DEC5F5FAFE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8255119" y="2424421"/>
              <a:ext cx="266433" cy="664840"/>
            </a:xfrm>
            <a:custGeom>
              <a:avLst/>
              <a:gdLst>
                <a:gd name="T0" fmla="*/ 58 w 460"/>
                <a:gd name="T1" fmla="*/ 0 h 1149"/>
                <a:gd name="T2" fmla="*/ 403 w 460"/>
                <a:gd name="T3" fmla="*/ 0 h 1149"/>
                <a:gd name="T4" fmla="*/ 414 w 460"/>
                <a:gd name="T5" fmla="*/ 1 h 1149"/>
                <a:gd name="T6" fmla="*/ 425 w 460"/>
                <a:gd name="T7" fmla="*/ 5 h 1149"/>
                <a:gd name="T8" fmla="*/ 434 w 460"/>
                <a:gd name="T9" fmla="*/ 9 h 1149"/>
                <a:gd name="T10" fmla="*/ 444 w 460"/>
                <a:gd name="T11" fmla="*/ 16 h 1149"/>
                <a:gd name="T12" fmla="*/ 451 w 460"/>
                <a:gd name="T13" fmla="*/ 26 h 1149"/>
                <a:gd name="T14" fmla="*/ 455 w 460"/>
                <a:gd name="T15" fmla="*/ 35 h 1149"/>
                <a:gd name="T16" fmla="*/ 459 w 460"/>
                <a:gd name="T17" fmla="*/ 46 h 1149"/>
                <a:gd name="T18" fmla="*/ 460 w 460"/>
                <a:gd name="T19" fmla="*/ 57 h 1149"/>
                <a:gd name="T20" fmla="*/ 460 w 460"/>
                <a:gd name="T21" fmla="*/ 1092 h 1149"/>
                <a:gd name="T22" fmla="*/ 459 w 460"/>
                <a:gd name="T23" fmla="*/ 1103 h 1149"/>
                <a:gd name="T24" fmla="*/ 455 w 460"/>
                <a:gd name="T25" fmla="*/ 1114 h 1149"/>
                <a:gd name="T26" fmla="*/ 451 w 460"/>
                <a:gd name="T27" fmla="*/ 1123 h 1149"/>
                <a:gd name="T28" fmla="*/ 444 w 460"/>
                <a:gd name="T29" fmla="*/ 1133 h 1149"/>
                <a:gd name="T30" fmla="*/ 434 w 460"/>
                <a:gd name="T31" fmla="*/ 1140 h 1149"/>
                <a:gd name="T32" fmla="*/ 425 w 460"/>
                <a:gd name="T33" fmla="*/ 1144 h 1149"/>
                <a:gd name="T34" fmla="*/ 414 w 460"/>
                <a:gd name="T35" fmla="*/ 1148 h 1149"/>
                <a:gd name="T36" fmla="*/ 403 w 460"/>
                <a:gd name="T37" fmla="*/ 1149 h 1149"/>
                <a:gd name="T38" fmla="*/ 58 w 460"/>
                <a:gd name="T39" fmla="*/ 1149 h 1149"/>
                <a:gd name="T40" fmla="*/ 46 w 460"/>
                <a:gd name="T41" fmla="*/ 1148 h 1149"/>
                <a:gd name="T42" fmla="*/ 36 w 460"/>
                <a:gd name="T43" fmla="*/ 1144 h 1149"/>
                <a:gd name="T44" fmla="*/ 26 w 460"/>
                <a:gd name="T45" fmla="*/ 1140 h 1149"/>
                <a:gd name="T46" fmla="*/ 17 w 460"/>
                <a:gd name="T47" fmla="*/ 1133 h 1149"/>
                <a:gd name="T48" fmla="*/ 10 w 460"/>
                <a:gd name="T49" fmla="*/ 1123 h 1149"/>
                <a:gd name="T50" fmla="*/ 5 w 460"/>
                <a:gd name="T51" fmla="*/ 1114 h 1149"/>
                <a:gd name="T52" fmla="*/ 2 w 460"/>
                <a:gd name="T53" fmla="*/ 1103 h 1149"/>
                <a:gd name="T54" fmla="*/ 0 w 460"/>
                <a:gd name="T55" fmla="*/ 1092 h 1149"/>
                <a:gd name="T56" fmla="*/ 0 w 460"/>
                <a:gd name="T57" fmla="*/ 57 h 1149"/>
                <a:gd name="T58" fmla="*/ 2 w 460"/>
                <a:gd name="T59" fmla="*/ 46 h 1149"/>
                <a:gd name="T60" fmla="*/ 5 w 460"/>
                <a:gd name="T61" fmla="*/ 35 h 1149"/>
                <a:gd name="T62" fmla="*/ 10 w 460"/>
                <a:gd name="T63" fmla="*/ 26 h 1149"/>
                <a:gd name="T64" fmla="*/ 17 w 460"/>
                <a:gd name="T65" fmla="*/ 16 h 1149"/>
                <a:gd name="T66" fmla="*/ 26 w 460"/>
                <a:gd name="T67" fmla="*/ 9 h 1149"/>
                <a:gd name="T68" fmla="*/ 36 w 460"/>
                <a:gd name="T69" fmla="*/ 5 h 1149"/>
                <a:gd name="T70" fmla="*/ 46 w 460"/>
                <a:gd name="T71" fmla="*/ 1 h 1149"/>
                <a:gd name="T72" fmla="*/ 58 w 460"/>
                <a:gd name="T73" fmla="*/ 0 h 1149"/>
                <a:gd name="T74" fmla="*/ 58 w 460"/>
                <a:gd name="T7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60" h="1149">
                  <a:moveTo>
                    <a:pt x="58" y="0"/>
                  </a:moveTo>
                  <a:lnTo>
                    <a:pt x="403" y="0"/>
                  </a:lnTo>
                  <a:lnTo>
                    <a:pt x="414" y="1"/>
                  </a:lnTo>
                  <a:lnTo>
                    <a:pt x="425" y="5"/>
                  </a:lnTo>
                  <a:lnTo>
                    <a:pt x="434" y="9"/>
                  </a:lnTo>
                  <a:lnTo>
                    <a:pt x="444" y="16"/>
                  </a:lnTo>
                  <a:lnTo>
                    <a:pt x="451" y="26"/>
                  </a:lnTo>
                  <a:lnTo>
                    <a:pt x="455" y="35"/>
                  </a:lnTo>
                  <a:lnTo>
                    <a:pt x="459" y="46"/>
                  </a:lnTo>
                  <a:lnTo>
                    <a:pt x="460" y="57"/>
                  </a:lnTo>
                  <a:lnTo>
                    <a:pt x="460" y="1092"/>
                  </a:lnTo>
                  <a:lnTo>
                    <a:pt x="459" y="1103"/>
                  </a:lnTo>
                  <a:lnTo>
                    <a:pt x="455" y="1114"/>
                  </a:lnTo>
                  <a:lnTo>
                    <a:pt x="451" y="1123"/>
                  </a:lnTo>
                  <a:lnTo>
                    <a:pt x="444" y="1133"/>
                  </a:lnTo>
                  <a:lnTo>
                    <a:pt x="434" y="1140"/>
                  </a:lnTo>
                  <a:lnTo>
                    <a:pt x="425" y="1144"/>
                  </a:lnTo>
                  <a:lnTo>
                    <a:pt x="414" y="1148"/>
                  </a:lnTo>
                  <a:lnTo>
                    <a:pt x="403" y="1149"/>
                  </a:lnTo>
                  <a:lnTo>
                    <a:pt x="58" y="1149"/>
                  </a:lnTo>
                  <a:lnTo>
                    <a:pt x="46" y="1148"/>
                  </a:lnTo>
                  <a:lnTo>
                    <a:pt x="36" y="1144"/>
                  </a:lnTo>
                  <a:lnTo>
                    <a:pt x="26" y="1140"/>
                  </a:lnTo>
                  <a:lnTo>
                    <a:pt x="17" y="1133"/>
                  </a:lnTo>
                  <a:lnTo>
                    <a:pt x="10" y="1123"/>
                  </a:lnTo>
                  <a:lnTo>
                    <a:pt x="5" y="1114"/>
                  </a:lnTo>
                  <a:lnTo>
                    <a:pt x="2" y="1103"/>
                  </a:lnTo>
                  <a:lnTo>
                    <a:pt x="0" y="1092"/>
                  </a:lnTo>
                  <a:lnTo>
                    <a:pt x="0" y="57"/>
                  </a:lnTo>
                  <a:lnTo>
                    <a:pt x="2" y="46"/>
                  </a:lnTo>
                  <a:lnTo>
                    <a:pt x="5" y="35"/>
                  </a:lnTo>
                  <a:lnTo>
                    <a:pt x="10" y="26"/>
                  </a:lnTo>
                  <a:lnTo>
                    <a:pt x="17" y="16"/>
                  </a:lnTo>
                  <a:lnTo>
                    <a:pt x="26" y="9"/>
                  </a:lnTo>
                  <a:lnTo>
                    <a:pt x="36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 sz="2065" dirty="0"/>
            </a:p>
          </p:txBody>
        </p:sp>
        <p:sp>
          <p:nvSpPr>
            <p:cNvPr id="70" name="Freeform 103">
              <a:extLst>
                <a:ext uri="{FF2B5EF4-FFF2-40B4-BE49-F238E27FC236}">
                  <a16:creationId xmlns:a16="http://schemas.microsoft.com/office/drawing/2014/main" id="{26F705F7-8B66-4E4D-82D3-F31FA71E84EC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8308604" y="2679282"/>
              <a:ext cx="156725" cy="157965"/>
            </a:xfrm>
            <a:custGeom>
              <a:avLst/>
              <a:gdLst>
                <a:gd name="T0" fmla="*/ 0 w 270"/>
                <a:gd name="T1" fmla="*/ 135 h 271"/>
                <a:gd name="T2" fmla="*/ 3 w 270"/>
                <a:gd name="T3" fmla="*/ 108 h 271"/>
                <a:gd name="T4" fmla="*/ 11 w 270"/>
                <a:gd name="T5" fmla="*/ 82 h 271"/>
                <a:gd name="T6" fmla="*/ 24 w 270"/>
                <a:gd name="T7" fmla="*/ 60 h 271"/>
                <a:gd name="T8" fmla="*/ 40 w 270"/>
                <a:gd name="T9" fmla="*/ 40 h 271"/>
                <a:gd name="T10" fmla="*/ 59 w 270"/>
                <a:gd name="T11" fmla="*/ 24 h 271"/>
                <a:gd name="T12" fmla="*/ 82 w 270"/>
                <a:gd name="T13" fmla="*/ 11 h 271"/>
                <a:gd name="T14" fmla="*/ 108 w 270"/>
                <a:gd name="T15" fmla="*/ 3 h 271"/>
                <a:gd name="T16" fmla="*/ 135 w 270"/>
                <a:gd name="T17" fmla="*/ 0 h 271"/>
                <a:gd name="T18" fmla="*/ 162 w 270"/>
                <a:gd name="T19" fmla="*/ 3 h 271"/>
                <a:gd name="T20" fmla="*/ 188 w 270"/>
                <a:gd name="T21" fmla="*/ 11 h 271"/>
                <a:gd name="T22" fmla="*/ 211 w 270"/>
                <a:gd name="T23" fmla="*/ 24 h 271"/>
                <a:gd name="T24" fmla="*/ 231 w 270"/>
                <a:gd name="T25" fmla="*/ 40 h 271"/>
                <a:gd name="T26" fmla="*/ 247 w 270"/>
                <a:gd name="T27" fmla="*/ 60 h 271"/>
                <a:gd name="T28" fmla="*/ 259 w 270"/>
                <a:gd name="T29" fmla="*/ 82 h 271"/>
                <a:gd name="T30" fmla="*/ 268 w 270"/>
                <a:gd name="T31" fmla="*/ 108 h 271"/>
                <a:gd name="T32" fmla="*/ 270 w 270"/>
                <a:gd name="T33" fmla="*/ 135 h 271"/>
                <a:gd name="T34" fmla="*/ 268 w 270"/>
                <a:gd name="T35" fmla="*/ 162 h 271"/>
                <a:gd name="T36" fmla="*/ 259 w 270"/>
                <a:gd name="T37" fmla="*/ 188 h 271"/>
                <a:gd name="T38" fmla="*/ 247 w 270"/>
                <a:gd name="T39" fmla="*/ 211 h 271"/>
                <a:gd name="T40" fmla="*/ 231 w 270"/>
                <a:gd name="T41" fmla="*/ 231 h 271"/>
                <a:gd name="T42" fmla="*/ 211 w 270"/>
                <a:gd name="T43" fmla="*/ 247 h 271"/>
                <a:gd name="T44" fmla="*/ 188 w 270"/>
                <a:gd name="T45" fmla="*/ 260 h 271"/>
                <a:gd name="T46" fmla="*/ 162 w 270"/>
                <a:gd name="T47" fmla="*/ 269 h 271"/>
                <a:gd name="T48" fmla="*/ 135 w 270"/>
                <a:gd name="T49" fmla="*/ 271 h 271"/>
                <a:gd name="T50" fmla="*/ 108 w 270"/>
                <a:gd name="T51" fmla="*/ 269 h 271"/>
                <a:gd name="T52" fmla="*/ 82 w 270"/>
                <a:gd name="T53" fmla="*/ 260 h 271"/>
                <a:gd name="T54" fmla="*/ 59 w 270"/>
                <a:gd name="T55" fmla="*/ 247 h 271"/>
                <a:gd name="T56" fmla="*/ 40 w 270"/>
                <a:gd name="T57" fmla="*/ 231 h 271"/>
                <a:gd name="T58" fmla="*/ 24 w 270"/>
                <a:gd name="T59" fmla="*/ 211 h 271"/>
                <a:gd name="T60" fmla="*/ 11 w 270"/>
                <a:gd name="T61" fmla="*/ 188 h 271"/>
                <a:gd name="T62" fmla="*/ 3 w 270"/>
                <a:gd name="T63" fmla="*/ 162 h 271"/>
                <a:gd name="T64" fmla="*/ 0 w 270"/>
                <a:gd name="T65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0" h="271">
                  <a:moveTo>
                    <a:pt x="0" y="135"/>
                  </a:moveTo>
                  <a:lnTo>
                    <a:pt x="3" y="108"/>
                  </a:lnTo>
                  <a:lnTo>
                    <a:pt x="11" y="82"/>
                  </a:lnTo>
                  <a:lnTo>
                    <a:pt x="24" y="60"/>
                  </a:lnTo>
                  <a:lnTo>
                    <a:pt x="40" y="40"/>
                  </a:lnTo>
                  <a:lnTo>
                    <a:pt x="59" y="24"/>
                  </a:lnTo>
                  <a:lnTo>
                    <a:pt x="82" y="11"/>
                  </a:lnTo>
                  <a:lnTo>
                    <a:pt x="108" y="3"/>
                  </a:lnTo>
                  <a:lnTo>
                    <a:pt x="135" y="0"/>
                  </a:lnTo>
                  <a:lnTo>
                    <a:pt x="162" y="3"/>
                  </a:lnTo>
                  <a:lnTo>
                    <a:pt x="188" y="11"/>
                  </a:lnTo>
                  <a:lnTo>
                    <a:pt x="211" y="24"/>
                  </a:lnTo>
                  <a:lnTo>
                    <a:pt x="231" y="40"/>
                  </a:lnTo>
                  <a:lnTo>
                    <a:pt x="247" y="60"/>
                  </a:lnTo>
                  <a:lnTo>
                    <a:pt x="259" y="82"/>
                  </a:lnTo>
                  <a:lnTo>
                    <a:pt x="268" y="108"/>
                  </a:lnTo>
                  <a:lnTo>
                    <a:pt x="270" y="135"/>
                  </a:lnTo>
                  <a:lnTo>
                    <a:pt x="268" y="162"/>
                  </a:lnTo>
                  <a:lnTo>
                    <a:pt x="259" y="188"/>
                  </a:lnTo>
                  <a:lnTo>
                    <a:pt x="247" y="211"/>
                  </a:lnTo>
                  <a:lnTo>
                    <a:pt x="231" y="231"/>
                  </a:lnTo>
                  <a:lnTo>
                    <a:pt x="211" y="247"/>
                  </a:lnTo>
                  <a:lnTo>
                    <a:pt x="188" y="260"/>
                  </a:lnTo>
                  <a:lnTo>
                    <a:pt x="162" y="269"/>
                  </a:lnTo>
                  <a:lnTo>
                    <a:pt x="135" y="271"/>
                  </a:lnTo>
                  <a:lnTo>
                    <a:pt x="108" y="269"/>
                  </a:lnTo>
                  <a:lnTo>
                    <a:pt x="82" y="260"/>
                  </a:lnTo>
                  <a:lnTo>
                    <a:pt x="59" y="247"/>
                  </a:lnTo>
                  <a:lnTo>
                    <a:pt x="40" y="231"/>
                  </a:lnTo>
                  <a:lnTo>
                    <a:pt x="24" y="211"/>
                  </a:lnTo>
                  <a:lnTo>
                    <a:pt x="11" y="188"/>
                  </a:lnTo>
                  <a:lnTo>
                    <a:pt x="3" y="162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065" dirty="0"/>
            </a:p>
          </p:txBody>
        </p:sp>
        <p:sp>
          <p:nvSpPr>
            <p:cNvPr id="29" name="Freeform 103">
              <a:extLst>
                <a:ext uri="{FF2B5EF4-FFF2-40B4-BE49-F238E27FC236}">
                  <a16:creationId xmlns:a16="http://schemas.microsoft.com/office/drawing/2014/main" id="{5F839EE7-3649-4AF8-B4FE-BCB0426A8E19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8308604" y="2885185"/>
              <a:ext cx="156725" cy="157965"/>
            </a:xfrm>
            <a:custGeom>
              <a:avLst/>
              <a:gdLst>
                <a:gd name="T0" fmla="*/ 0 w 270"/>
                <a:gd name="T1" fmla="*/ 135 h 271"/>
                <a:gd name="T2" fmla="*/ 3 w 270"/>
                <a:gd name="T3" fmla="*/ 108 h 271"/>
                <a:gd name="T4" fmla="*/ 11 w 270"/>
                <a:gd name="T5" fmla="*/ 82 h 271"/>
                <a:gd name="T6" fmla="*/ 24 w 270"/>
                <a:gd name="T7" fmla="*/ 60 h 271"/>
                <a:gd name="T8" fmla="*/ 40 w 270"/>
                <a:gd name="T9" fmla="*/ 40 h 271"/>
                <a:gd name="T10" fmla="*/ 59 w 270"/>
                <a:gd name="T11" fmla="*/ 24 h 271"/>
                <a:gd name="T12" fmla="*/ 82 w 270"/>
                <a:gd name="T13" fmla="*/ 11 h 271"/>
                <a:gd name="T14" fmla="*/ 108 w 270"/>
                <a:gd name="T15" fmla="*/ 3 h 271"/>
                <a:gd name="T16" fmla="*/ 135 w 270"/>
                <a:gd name="T17" fmla="*/ 0 h 271"/>
                <a:gd name="T18" fmla="*/ 162 w 270"/>
                <a:gd name="T19" fmla="*/ 3 h 271"/>
                <a:gd name="T20" fmla="*/ 188 w 270"/>
                <a:gd name="T21" fmla="*/ 11 h 271"/>
                <a:gd name="T22" fmla="*/ 211 w 270"/>
                <a:gd name="T23" fmla="*/ 24 h 271"/>
                <a:gd name="T24" fmla="*/ 231 w 270"/>
                <a:gd name="T25" fmla="*/ 40 h 271"/>
                <a:gd name="T26" fmla="*/ 247 w 270"/>
                <a:gd name="T27" fmla="*/ 60 h 271"/>
                <a:gd name="T28" fmla="*/ 259 w 270"/>
                <a:gd name="T29" fmla="*/ 82 h 271"/>
                <a:gd name="T30" fmla="*/ 268 w 270"/>
                <a:gd name="T31" fmla="*/ 108 h 271"/>
                <a:gd name="T32" fmla="*/ 270 w 270"/>
                <a:gd name="T33" fmla="*/ 135 h 271"/>
                <a:gd name="T34" fmla="*/ 268 w 270"/>
                <a:gd name="T35" fmla="*/ 162 h 271"/>
                <a:gd name="T36" fmla="*/ 259 w 270"/>
                <a:gd name="T37" fmla="*/ 188 h 271"/>
                <a:gd name="T38" fmla="*/ 247 w 270"/>
                <a:gd name="T39" fmla="*/ 211 h 271"/>
                <a:gd name="T40" fmla="*/ 231 w 270"/>
                <a:gd name="T41" fmla="*/ 231 h 271"/>
                <a:gd name="T42" fmla="*/ 211 w 270"/>
                <a:gd name="T43" fmla="*/ 247 h 271"/>
                <a:gd name="T44" fmla="*/ 188 w 270"/>
                <a:gd name="T45" fmla="*/ 260 h 271"/>
                <a:gd name="T46" fmla="*/ 162 w 270"/>
                <a:gd name="T47" fmla="*/ 269 h 271"/>
                <a:gd name="T48" fmla="*/ 135 w 270"/>
                <a:gd name="T49" fmla="*/ 271 h 271"/>
                <a:gd name="T50" fmla="*/ 108 w 270"/>
                <a:gd name="T51" fmla="*/ 269 h 271"/>
                <a:gd name="T52" fmla="*/ 82 w 270"/>
                <a:gd name="T53" fmla="*/ 260 h 271"/>
                <a:gd name="T54" fmla="*/ 59 w 270"/>
                <a:gd name="T55" fmla="*/ 247 h 271"/>
                <a:gd name="T56" fmla="*/ 40 w 270"/>
                <a:gd name="T57" fmla="*/ 231 h 271"/>
                <a:gd name="T58" fmla="*/ 24 w 270"/>
                <a:gd name="T59" fmla="*/ 211 h 271"/>
                <a:gd name="T60" fmla="*/ 11 w 270"/>
                <a:gd name="T61" fmla="*/ 188 h 271"/>
                <a:gd name="T62" fmla="*/ 3 w 270"/>
                <a:gd name="T63" fmla="*/ 162 h 271"/>
                <a:gd name="T64" fmla="*/ 0 w 270"/>
                <a:gd name="T65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0" h="271">
                  <a:moveTo>
                    <a:pt x="0" y="135"/>
                  </a:moveTo>
                  <a:lnTo>
                    <a:pt x="3" y="108"/>
                  </a:lnTo>
                  <a:lnTo>
                    <a:pt x="11" y="82"/>
                  </a:lnTo>
                  <a:lnTo>
                    <a:pt x="24" y="60"/>
                  </a:lnTo>
                  <a:lnTo>
                    <a:pt x="40" y="40"/>
                  </a:lnTo>
                  <a:lnTo>
                    <a:pt x="59" y="24"/>
                  </a:lnTo>
                  <a:lnTo>
                    <a:pt x="82" y="11"/>
                  </a:lnTo>
                  <a:lnTo>
                    <a:pt x="108" y="3"/>
                  </a:lnTo>
                  <a:lnTo>
                    <a:pt x="135" y="0"/>
                  </a:lnTo>
                  <a:lnTo>
                    <a:pt x="162" y="3"/>
                  </a:lnTo>
                  <a:lnTo>
                    <a:pt x="188" y="11"/>
                  </a:lnTo>
                  <a:lnTo>
                    <a:pt x="211" y="24"/>
                  </a:lnTo>
                  <a:lnTo>
                    <a:pt x="231" y="40"/>
                  </a:lnTo>
                  <a:lnTo>
                    <a:pt x="247" y="60"/>
                  </a:lnTo>
                  <a:lnTo>
                    <a:pt x="259" y="82"/>
                  </a:lnTo>
                  <a:lnTo>
                    <a:pt x="268" y="108"/>
                  </a:lnTo>
                  <a:lnTo>
                    <a:pt x="270" y="135"/>
                  </a:lnTo>
                  <a:lnTo>
                    <a:pt x="268" y="162"/>
                  </a:lnTo>
                  <a:lnTo>
                    <a:pt x="259" y="188"/>
                  </a:lnTo>
                  <a:lnTo>
                    <a:pt x="247" y="211"/>
                  </a:lnTo>
                  <a:lnTo>
                    <a:pt x="231" y="231"/>
                  </a:lnTo>
                  <a:lnTo>
                    <a:pt x="211" y="247"/>
                  </a:lnTo>
                  <a:lnTo>
                    <a:pt x="188" y="260"/>
                  </a:lnTo>
                  <a:lnTo>
                    <a:pt x="162" y="269"/>
                  </a:lnTo>
                  <a:lnTo>
                    <a:pt x="135" y="271"/>
                  </a:lnTo>
                  <a:lnTo>
                    <a:pt x="108" y="269"/>
                  </a:lnTo>
                  <a:lnTo>
                    <a:pt x="82" y="260"/>
                  </a:lnTo>
                  <a:lnTo>
                    <a:pt x="59" y="247"/>
                  </a:lnTo>
                  <a:lnTo>
                    <a:pt x="40" y="231"/>
                  </a:lnTo>
                  <a:lnTo>
                    <a:pt x="24" y="211"/>
                  </a:lnTo>
                  <a:lnTo>
                    <a:pt x="11" y="188"/>
                  </a:lnTo>
                  <a:lnTo>
                    <a:pt x="3" y="162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065" dirty="0"/>
            </a:p>
          </p:txBody>
        </p:sp>
      </p:grpSp>
    </p:spTree>
    <p:extLst>
      <p:ext uri="{BB962C8B-B14F-4D97-AF65-F5344CB8AC3E}">
        <p14:creationId xmlns:p14="http://schemas.microsoft.com/office/powerpoint/2010/main" val="40637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0&quot;&gt;&lt;elem m_fUsage=&quot;3.12949000000000010502E+00&quot;&gt;&lt;m_msothmcolidx val=&quot;0&quot;/&gt;&lt;m_rgb r=&quot;00&quot; g=&quot;69&quot; b=&quot;83&quot;/&gt;&lt;m_nBrightness val=&quot;0&quot;/&gt;&lt;/elem&gt;&lt;elem m_fUsage=&quot;1.48475369194125828010E+00&quot;&gt;&lt;m_msothmcolidx val=&quot;0&quot;/&gt;&lt;m_rgb r=&quot;66&quot; g=&quot;66&quot; b=&quot;66&quot;/&gt;&lt;m_nBrightness val=&quot;0&quot;/&gt;&lt;/elem&gt;&lt;elem m_fUsage=&quot;1.40037780609000050980E+00&quot;&gt;&lt;m_msothmcolidx val=&quot;0&quot;/&gt;&lt;m_rgb r=&quot;30&quot; g=&quot;54&quot; b=&quot;3A&quot;/&gt;&lt;m_nBrightness val=&quot;0&quot;/&gt;&lt;/elem&gt;&lt;elem m_fUsage=&quot;7.36098929100000076708E-01&quot;&gt;&lt;m_msothmcolidx val=&quot;0&quot;/&gt;&lt;m_rgb r=&quot;BD&quot; g=&quot;1A&quot; b=&quot;02&quot;/&gt;&lt;m_nBrightness val=&quot;0&quot;/&gt;&lt;/elem&gt;&lt;elem m_fUsage=&quot;5.31441000000000163261E-01&quot;&gt;&lt;m_msothmcolidx val=&quot;0&quot;/&gt;&lt;m_rgb r=&quot;D9&quot; g=&quot;D9&quot; b=&quot;D9&quot;/&gt;&lt;m_nBrightness val=&quot;0&quot;/&gt;&lt;/elem&gt;&lt;elem m_fUsage=&quot;4.78296900000000135833E-01&quot;&gt;&lt;m_msothmcolidx val=&quot;0&quot;/&gt;&lt;m_rgb r=&quot;B0&quot; g=&quot;B7&quot; b=&quot;B3&quot;/&gt;&lt;m_nBrightness val=&quot;0&quot;/&gt;&lt;/elem&gt;&lt;elem m_fUsage=&quot;2.82429536481000165171E-01&quot;&gt;&lt;m_msothmcolidx val=&quot;0&quot;/&gt;&lt;m_rgb r=&quot;DA&quot; g=&quot;F3&quot; b=&quot;ED&quot;/&gt;&lt;m_nBrightness val=&quot;0&quot;/&gt;&lt;/elem&gt;&lt;elem m_fUsage=&quot;2.54186582832900132001E-01&quot;&gt;&lt;m_msothmcolidx val=&quot;0&quot;/&gt;&lt;m_rgb r=&quot;F2&quot; g=&quot;7F&quot; b=&quot;00&quot;/&gt;&lt;m_nBrightness val=&quot;0&quot;/&gt;&lt;/elem&gt;&lt;elem m_fUsage=&quot;1.85302018885184188735E-01&quot;&gt;&lt;m_msothmcolidx val=&quot;0&quot;/&gt;&lt;m_rgb r=&quot;CD&quot; g=&quot;20&quot; b=&quot;2C&quot;/&gt;&lt;m_nBrightness val=&quot;0&quot;/&gt;&lt;/elem&gt;&lt;elem m_fUsage=&quot;1.66771816996665767086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Philip Mader\Desktop\Peak Pride\20180429_Landzinshaus Update\Document\180429_Presentation Landzinshaus_update_v1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.SEAVLjU2vwCdIzapy7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heme/theme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2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45DAE2C35A663459270A0B8856C580D" ma:contentTypeVersion="8" ma:contentTypeDescription="Ein neues Dokument erstellen." ma:contentTypeScope="" ma:versionID="af42542218e62cb9a11f4585e68a669d">
  <xsd:schema xmlns:xsd="http://www.w3.org/2001/XMLSchema" xmlns:xs="http://www.w3.org/2001/XMLSchema" xmlns:p="http://schemas.microsoft.com/office/2006/metadata/properties" xmlns:ns2="9772dfc1-d3f7-44c0-8def-aaeb5af2e2ef" xmlns:ns3="1ede185b-229f-4ceb-aa2b-1130e098b9cd" targetNamespace="http://schemas.microsoft.com/office/2006/metadata/properties" ma:root="true" ma:fieldsID="e95a1d1c1125d1232e5167e913ef2e6e" ns2:_="" ns3:_="">
    <xsd:import namespace="9772dfc1-d3f7-44c0-8def-aaeb5af2e2ef"/>
    <xsd:import namespace="1ede185b-229f-4ceb-aa2b-1130e098b9c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72dfc1-d3f7-44c0-8def-aaeb5af2e2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de185b-229f-4ceb-aa2b-1130e098b9cd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9FD64A1-8052-4682-B5BC-2184B7F5723F}">
  <ds:schemaRefs>
    <ds:schemaRef ds:uri="9772dfc1-d3f7-44c0-8def-aaeb5af2e2ef"/>
    <ds:schemaRef ds:uri="http://schemas.microsoft.com/office/2006/metadata/properties"/>
    <ds:schemaRef ds:uri="http://purl.org/dc/terms/"/>
    <ds:schemaRef ds:uri="1ede185b-229f-4ceb-aa2b-1130e098b9cd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4BC0341-821A-432B-9413-2D20152A8E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772dfc1-d3f7-44c0-8def-aaeb5af2e2ef"/>
    <ds:schemaRef ds:uri="1ede185b-229f-4ceb-aa2b-1130e098b9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8E5813C-AF6C-49DC-B14D-AB330C46CEB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8</Words>
  <Application>Microsoft Office PowerPoint</Application>
  <PresentationFormat>Custom</PresentationFormat>
  <Paragraphs>48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Firm Format - template_Grey</vt:lpstr>
      <vt:lpstr>1_Firm Format - template_Grey</vt:lpstr>
      <vt:lpstr>think-cell Slide</vt:lpstr>
      <vt:lpstr>xxxx </vt:lpstr>
      <vt:lpstr>PowerPoint Presentation</vt:lpstr>
      <vt:lpstr>Company xxxx</vt:lpstr>
      <vt:lpstr>Xxx Investmentanalyse (1/3)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5-10-15T15:41:18Z</cp:lastPrinted>
  <dcterms:created xsi:type="dcterms:W3CDTF">2017-10-29T14:19:51Z</dcterms:created>
  <dcterms:modified xsi:type="dcterms:W3CDTF">2018-12-11T10:29:58Z</dcterms:modified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5DAE2C35A663459270A0B8856C580D</vt:lpwstr>
  </property>
</Properties>
</file>